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5"/>
  </p:notesMasterIdLst>
  <p:handoutMasterIdLst>
    <p:handoutMasterId r:id="rId16"/>
  </p:handoutMasterIdLst>
  <p:sldIdLst>
    <p:sldId id="401" r:id="rId2"/>
    <p:sldId id="476" r:id="rId3"/>
    <p:sldId id="477" r:id="rId4"/>
    <p:sldId id="515" r:id="rId5"/>
    <p:sldId id="516" r:id="rId6"/>
    <p:sldId id="517" r:id="rId7"/>
    <p:sldId id="518" r:id="rId8"/>
    <p:sldId id="519" r:id="rId9"/>
    <p:sldId id="507" r:id="rId10"/>
    <p:sldId id="508" r:id="rId11"/>
    <p:sldId id="509" r:id="rId12"/>
    <p:sldId id="513" r:id="rId13"/>
    <p:sldId id="514" r:id="rId14"/>
  </p:sldIdLst>
  <p:sldSz cx="9906000" cy="6858000" type="A4"/>
  <p:notesSz cx="6807200" cy="9939338"/>
  <p:defaultTextStyle>
    <a:defPPr>
      <a:defRPr lang="ko-KR"/>
    </a:defPPr>
    <a:lvl1pPr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1pPr>
    <a:lvl2pPr marL="4572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2pPr>
    <a:lvl3pPr marL="9144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3pPr>
    <a:lvl4pPr marL="13716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4pPr>
    <a:lvl5pPr marL="1828800" algn="l" rtl="0" eaLnBrk="0" fontAlgn="base" hangingPunct="0">
      <a:spcBef>
        <a:spcPct val="0"/>
      </a:spcBef>
      <a:spcAft>
        <a:spcPct val="0"/>
      </a:spcAft>
      <a:defRPr kumimoji="1" kern="1200">
        <a:solidFill>
          <a:schemeClr val="tx1"/>
        </a:solidFill>
        <a:latin typeface="굴림" panose="020B0600000101010101" pitchFamily="50" charset="-127"/>
        <a:ea typeface="굴림" panose="020B0600000101010101" pitchFamily="50" charset="-127"/>
        <a:cs typeface="+mn-cs"/>
      </a:defRPr>
    </a:lvl5pPr>
    <a:lvl6pPr marL="22860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6pPr>
    <a:lvl7pPr marL="27432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7pPr>
    <a:lvl8pPr marL="32004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8pPr>
    <a:lvl9pPr marL="3657600" algn="l" defTabSz="914400" rtl="0" eaLnBrk="1" latinLnBrk="1" hangingPunct="1">
      <a:defRPr kumimoji="1" kern="1200">
        <a:solidFill>
          <a:schemeClr val="tx1"/>
        </a:solidFill>
        <a:latin typeface="굴림" panose="020B0600000101010101" pitchFamily="50" charset="-127"/>
        <a:ea typeface="굴림" panose="020B0600000101010101" pitchFamily="50" charset="-127"/>
        <a:cs typeface="+mn-cs"/>
      </a:defRPr>
    </a:lvl9pPr>
  </p:defaultTextStyle>
  <p:extLst>
    <p:ext uri="{EFAFB233-063F-42B5-8137-9DF3F51BA10A}">
      <p15:sldGuideLst xmlns:p15="http://schemas.microsoft.com/office/powerpoint/2012/main">
        <p15:guide id="1" orient="horz" pos="1298">
          <p15:clr>
            <a:srgbClr val="A4A3A4"/>
          </p15:clr>
        </p15:guide>
        <p15:guide id="2" pos="3120">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EB3946"/>
    <a:srgbClr val="CC0000"/>
    <a:srgbClr val="DDDDDD"/>
    <a:srgbClr val="0000CC"/>
    <a:srgbClr val="FFFFCC"/>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19" autoAdjust="0"/>
    <p:restoredTop sz="84227" autoAdjust="0"/>
  </p:normalViewPr>
  <p:slideViewPr>
    <p:cSldViewPr>
      <p:cViewPr varScale="1">
        <p:scale>
          <a:sx n="121" d="100"/>
          <a:sy n="121" d="100"/>
        </p:scale>
        <p:origin x="1242" y="114"/>
      </p:cViewPr>
      <p:guideLst>
        <p:guide orient="horz" pos="129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736"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9575" cy="496888"/>
          </a:xfrm>
          <a:prstGeom prst="rect">
            <a:avLst/>
          </a:prstGeom>
        </p:spPr>
        <p:txBody>
          <a:bodyPr vert="horz" lIns="91440" tIns="45720" rIns="91440" bIns="45720" rtlCol="0"/>
          <a:lstStyle>
            <a:lvl1pPr algn="l" eaLnBrk="1" latinLnBrk="1" hangingPunct="1">
              <a:defRPr sz="1200">
                <a:latin typeface="굴림" pitchFamily="50" charset="-127"/>
                <a:ea typeface="굴림" pitchFamily="50" charset="-127"/>
              </a:defRPr>
            </a:lvl1pPr>
          </a:lstStyle>
          <a:p>
            <a:pPr>
              <a:defRPr/>
            </a:pPr>
            <a:endParaRPr lang="ko-KR" altLang="en-US"/>
          </a:p>
        </p:txBody>
      </p:sp>
      <p:sp>
        <p:nvSpPr>
          <p:cNvPr id="3" name="날짜 개체 틀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eaLnBrk="1" latinLnBrk="1" hangingPunct="1">
              <a:defRPr sz="1200">
                <a:latin typeface="굴림" pitchFamily="50" charset="-127"/>
                <a:ea typeface="굴림" pitchFamily="50" charset="-127"/>
              </a:defRPr>
            </a:lvl1pPr>
          </a:lstStyle>
          <a:p>
            <a:pPr>
              <a:defRPr/>
            </a:pPr>
            <a:fld id="{3AD0EF87-942A-49DE-BB9C-676A4DE61BA2}" type="datetimeFigureOut">
              <a:rPr lang="ko-KR" altLang="en-US"/>
              <a:pPr>
                <a:defRPr/>
              </a:pPr>
              <a:t>2022-09-04</a:t>
            </a:fld>
            <a:endParaRPr lang="ko-KR" altLang="en-US" dirty="0"/>
          </a:p>
        </p:txBody>
      </p:sp>
      <p:sp>
        <p:nvSpPr>
          <p:cNvPr id="4" name="바닥글 개체 틀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eaLnBrk="1" latinLnBrk="1" hangingPunct="1">
              <a:defRPr sz="1200">
                <a:latin typeface="굴림" pitchFamily="50" charset="-127"/>
                <a:ea typeface="굴림" pitchFamily="50" charset="-127"/>
              </a:defRPr>
            </a:lvl1pPr>
          </a:lstStyle>
          <a:p>
            <a:pPr>
              <a:defRPr/>
            </a:pPr>
            <a:endParaRPr lang="ko-KR" altLang="en-US" dirty="0"/>
          </a:p>
        </p:txBody>
      </p:sp>
      <p:sp>
        <p:nvSpPr>
          <p:cNvPr id="5" name="슬라이드 번호 개체 틀 4"/>
          <p:cNvSpPr>
            <a:spLocks noGrp="1"/>
          </p:cNvSpPr>
          <p:nvPr>
            <p:ph type="sldNum" sz="quarter" idx="3"/>
          </p:nvPr>
        </p:nvSpPr>
        <p:spPr>
          <a:xfrm>
            <a:off x="3856038" y="9440863"/>
            <a:ext cx="2949575" cy="496887"/>
          </a:xfrm>
          <a:prstGeom prst="rect">
            <a:avLst/>
          </a:prstGeom>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8176E5A4-F195-4E22-A4CB-5188746176B5}" type="slidenum">
              <a:rPr lang="ko-KR" altLang="en-US"/>
              <a:pPr>
                <a:defRPr/>
              </a:pPr>
              <a:t>‹#›</a:t>
            </a:fld>
            <a:endParaRPr lang="ko-KR" altLang="en-US" dirty="0"/>
          </a:p>
        </p:txBody>
      </p:sp>
    </p:spTree>
    <p:extLst>
      <p:ext uri="{BB962C8B-B14F-4D97-AF65-F5344CB8AC3E}">
        <p14:creationId xmlns:p14="http://schemas.microsoft.com/office/powerpoint/2010/main" val="15959782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87" name="Rectangle 3"/>
          <p:cNvSpPr>
            <a:spLocks noGrp="1" noChangeArrowheads="1"/>
          </p:cNvSpPr>
          <p:nvPr>
            <p:ph type="dt" idx="1"/>
          </p:nvPr>
        </p:nvSpPr>
        <p:spPr bwMode="auto">
          <a:xfrm>
            <a:off x="3856038"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latinLnBrk="1" hangingPunct="1">
              <a:defRPr sz="1200">
                <a:latin typeface="굴림" pitchFamily="50" charset="-127"/>
                <a:ea typeface="굴림" pitchFamily="50" charset="-127"/>
              </a:defRPr>
            </a:lvl1pPr>
          </a:lstStyle>
          <a:p>
            <a:pPr>
              <a:defRPr/>
            </a:pPr>
            <a:endParaRPr lang="en-US" altLang="ko-KR" dirty="0"/>
          </a:p>
        </p:txBody>
      </p:sp>
      <p:sp>
        <p:nvSpPr>
          <p:cNvPr id="5124" name="Rectangle 4"/>
          <p:cNvSpPr>
            <a:spLocks noGrp="1" noRot="1" noChangeAspect="1" noChangeArrowheads="1" noTextEdit="1"/>
          </p:cNvSpPr>
          <p:nvPr>
            <p:ph type="sldImg" idx="2"/>
          </p:nvPr>
        </p:nvSpPr>
        <p:spPr bwMode="auto">
          <a:xfrm>
            <a:off x="712788" y="746125"/>
            <a:ext cx="53816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5"/>
          <p:cNvSpPr>
            <a:spLocks noGrp="1" noChangeArrowheads="1"/>
          </p:cNvSpPr>
          <p:nvPr>
            <p:ph type="body" sz="quarter" idx="3"/>
          </p:nvPr>
        </p:nvSpPr>
        <p:spPr bwMode="auto">
          <a:xfrm>
            <a:off x="681038" y="4721225"/>
            <a:ext cx="5445125" cy="44719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p>
        </p:txBody>
      </p:sp>
      <p:sp>
        <p:nvSpPr>
          <p:cNvPr id="93190" name="Rectangle 6"/>
          <p:cNvSpPr>
            <a:spLocks noGrp="1" noChangeArrowheads="1"/>
          </p:cNvSpPr>
          <p:nvPr>
            <p:ph type="ftr" sz="quarter" idx="4"/>
          </p:nvPr>
        </p:nvSpPr>
        <p:spPr bwMode="auto">
          <a:xfrm>
            <a:off x="0"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latinLnBrk="1" hangingPunct="1">
              <a:defRPr sz="1200">
                <a:latin typeface="굴림" pitchFamily="50" charset="-127"/>
                <a:ea typeface="굴림" pitchFamily="50" charset="-127"/>
              </a:defRPr>
            </a:lvl1pPr>
          </a:lstStyle>
          <a:p>
            <a:pPr>
              <a:defRPr/>
            </a:pPr>
            <a:endParaRPr lang="en-US" altLang="ko-KR" dirty="0"/>
          </a:p>
        </p:txBody>
      </p:sp>
      <p:sp>
        <p:nvSpPr>
          <p:cNvPr id="93191" name="Rectangle 7"/>
          <p:cNvSpPr>
            <a:spLocks noGrp="1" noChangeArrowheads="1"/>
          </p:cNvSpPr>
          <p:nvPr>
            <p:ph type="sldNum" sz="quarter" idx="5"/>
          </p:nvPr>
        </p:nvSpPr>
        <p:spPr bwMode="auto">
          <a:xfrm>
            <a:off x="3856038" y="9440863"/>
            <a:ext cx="2949575"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latinLnBrk="1" hangingPunct="1">
              <a:defRPr sz="1200"/>
            </a:lvl1pPr>
          </a:lstStyle>
          <a:p>
            <a:pPr>
              <a:defRPr/>
            </a:pPr>
            <a:fld id="{2E854585-E54A-484D-A3B4-5EEEC9406666}" type="slidenum">
              <a:rPr lang="en-US" altLang="ko-KR"/>
              <a:pPr>
                <a:defRPr/>
              </a:pPr>
              <a:t>‹#›</a:t>
            </a:fld>
            <a:endParaRPr lang="en-US" altLang="ko-KR" dirty="0"/>
          </a:p>
        </p:txBody>
      </p:sp>
    </p:spTree>
    <p:extLst>
      <p:ext uri="{BB962C8B-B14F-4D97-AF65-F5344CB8AC3E}">
        <p14:creationId xmlns:p14="http://schemas.microsoft.com/office/powerpoint/2010/main" val="1057002725"/>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1pPr>
    <a:lvl2pPr marL="4572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2pPr>
    <a:lvl3pPr marL="9144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3pPr>
    <a:lvl4pPr marL="13716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4pPr>
    <a:lvl5pPr marL="1828800" algn="l" rtl="0" eaLnBrk="0" fontAlgn="base" latinLnBrk="1" hangingPunct="0">
      <a:spcBef>
        <a:spcPct val="30000"/>
      </a:spcBef>
      <a:spcAft>
        <a:spcPct val="0"/>
      </a:spcAft>
      <a:defRPr kumimoji="1" sz="1200" kern="1200">
        <a:solidFill>
          <a:schemeClr val="tx1"/>
        </a:solidFill>
        <a:latin typeface="굴림" pitchFamily="50" charset="-127"/>
        <a:ea typeface="굴림" pitchFamily="50" charset="-127"/>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a:defRPr/>
            </a:pPr>
            <a:fld id="{2E854585-E54A-484D-A3B4-5EEEC9406666}" type="slidenum">
              <a:rPr lang="en-US" altLang="ko-KR" smtClean="0"/>
              <a:pPr>
                <a:defRPr/>
              </a:pPr>
              <a:t>1</a:t>
            </a:fld>
            <a:endParaRPr lang="en-US" altLang="ko-KR" dirty="0"/>
          </a:p>
        </p:txBody>
      </p:sp>
    </p:spTree>
    <p:extLst>
      <p:ext uri="{BB962C8B-B14F-4D97-AF65-F5344CB8AC3E}">
        <p14:creationId xmlns:p14="http://schemas.microsoft.com/office/powerpoint/2010/main" val="1970126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a:defRPr/>
            </a:pPr>
            <a:fld id="{2E854585-E54A-484D-A3B4-5EEEC9406666}" type="slidenum">
              <a:rPr lang="en-US" altLang="ko-KR" smtClean="0"/>
              <a:pPr>
                <a:defRPr/>
              </a:pPr>
              <a:t>2</a:t>
            </a:fld>
            <a:endParaRPr lang="en-US" altLang="ko-KR" dirty="0"/>
          </a:p>
        </p:txBody>
      </p:sp>
    </p:spTree>
    <p:extLst>
      <p:ext uri="{BB962C8B-B14F-4D97-AF65-F5344CB8AC3E}">
        <p14:creationId xmlns:p14="http://schemas.microsoft.com/office/powerpoint/2010/main" val="3503805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742950" y="2130425"/>
            <a:ext cx="8420100" cy="1470025"/>
          </a:xfrm>
          <a:prstGeom prst="rect">
            <a:avLst/>
          </a:prstGeom>
        </p:spPr>
        <p:txBody>
          <a:bodyPr/>
          <a:lstStyle/>
          <a:p>
            <a:r>
              <a:rPr lang="ko-KR" altLang="en-US" smtClean="0"/>
              <a:t>마스터 제목 스타일 편집</a:t>
            </a:r>
            <a:endParaRPr lang="ko-KR" altLang="en-US"/>
          </a:p>
        </p:txBody>
      </p:sp>
      <p:sp>
        <p:nvSpPr>
          <p:cNvPr id="3" name="부제목 2"/>
          <p:cNvSpPr>
            <a:spLocks noGrp="1"/>
          </p:cNvSpPr>
          <p:nvPr>
            <p:ph type="subTitle" idx="1"/>
          </p:nvPr>
        </p:nvSpPr>
        <p:spPr>
          <a:xfrm>
            <a:off x="1485900" y="3886200"/>
            <a:ext cx="69342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495300" y="6356350"/>
            <a:ext cx="2311400" cy="365125"/>
          </a:xfrm>
          <a:prstGeom prst="rect">
            <a:avLst/>
          </a:prstGeom>
        </p:spPr>
        <p:txBody>
          <a:bodyPr/>
          <a:lstStyle>
            <a:lvl1pPr eaLnBrk="1" latinLnBrk="1" hangingPunct="1">
              <a:defRPr>
                <a:latin typeface="굴림" pitchFamily="50" charset="-127"/>
                <a:ea typeface="굴림" pitchFamily="50" charset="-127"/>
              </a:defRPr>
            </a:lvl1pPr>
          </a:lstStyle>
          <a:p>
            <a:pPr>
              <a:defRPr/>
            </a:pPr>
            <a:endParaRPr lang="ko-KR" altLang="en-US"/>
          </a:p>
        </p:txBody>
      </p:sp>
      <p:sp>
        <p:nvSpPr>
          <p:cNvPr id="5" name="바닥글 개체 틀 4"/>
          <p:cNvSpPr>
            <a:spLocks noGrp="1"/>
          </p:cNvSpPr>
          <p:nvPr>
            <p:ph type="ftr" sz="quarter" idx="11"/>
          </p:nvPr>
        </p:nvSpPr>
        <p:spPr>
          <a:xfrm>
            <a:off x="3384550" y="6356350"/>
            <a:ext cx="3136900" cy="365125"/>
          </a:xfrm>
          <a:prstGeom prst="rect">
            <a:avLst/>
          </a:prstGeom>
        </p:spPr>
        <p:txBody>
          <a:bodyPr/>
          <a:lstStyle>
            <a:lvl1pPr eaLnBrk="1" latinLnBrk="1" hangingPunct="1">
              <a:defRPr>
                <a:latin typeface="굴림" pitchFamily="50" charset="-127"/>
                <a:ea typeface="굴림" pitchFamily="50" charset="-127"/>
              </a:defRPr>
            </a:lvl1pPr>
          </a:lstStyle>
          <a:p>
            <a:pPr>
              <a:defRPr/>
            </a:pPr>
            <a:endParaRPr lang="ko-KR" altLang="en-US" dirty="0"/>
          </a:p>
        </p:txBody>
      </p:sp>
      <p:sp>
        <p:nvSpPr>
          <p:cNvPr id="6" name="슬라이드 번호 개체 틀 5"/>
          <p:cNvSpPr>
            <a:spLocks noGrp="1"/>
          </p:cNvSpPr>
          <p:nvPr>
            <p:ph type="sldNum" sz="quarter" idx="12"/>
          </p:nvPr>
        </p:nvSpPr>
        <p:spPr>
          <a:xfrm>
            <a:off x="7099300" y="6356350"/>
            <a:ext cx="2311400" cy="365125"/>
          </a:xfrm>
          <a:prstGeom prst="rect">
            <a:avLst/>
          </a:prstGeom>
        </p:spPr>
        <p:txBody>
          <a:bodyPr vert="horz" wrap="square" lIns="91440" tIns="45720" rIns="91440" bIns="45720" numCol="1" anchor="t" anchorCtr="0" compatLnSpc="1">
            <a:prstTxWarp prst="textNoShape">
              <a:avLst/>
            </a:prstTxWarp>
          </a:bodyPr>
          <a:lstStyle>
            <a:lvl1pPr eaLnBrk="1" latinLnBrk="1" hangingPunct="1">
              <a:defRPr/>
            </a:lvl1pPr>
          </a:lstStyle>
          <a:p>
            <a:pPr>
              <a:defRPr/>
            </a:pPr>
            <a:fld id="{113F547D-40EB-4492-B403-DBC46F773230}" type="slidenum">
              <a:rPr lang="ko-KR" altLang="en-US"/>
              <a:pPr>
                <a:defRPr/>
              </a:pPr>
              <a:t>‹#›</a:t>
            </a:fld>
            <a:endParaRPr lang="ko-KR" altLang="en-US" dirty="0"/>
          </a:p>
        </p:txBody>
      </p:sp>
    </p:spTree>
    <p:extLst>
      <p:ext uri="{BB962C8B-B14F-4D97-AF65-F5344CB8AC3E}">
        <p14:creationId xmlns:p14="http://schemas.microsoft.com/office/powerpoint/2010/main" val="39528190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7601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sp>
        <p:nvSpPr>
          <p:cNvPr id="2" name="제목 1"/>
          <p:cNvSpPr>
            <a:spLocks noGrp="1"/>
          </p:cNvSpPr>
          <p:nvPr>
            <p:ph type="title"/>
          </p:nvPr>
        </p:nvSpPr>
        <p:spPr>
          <a:xfrm>
            <a:off x="128464" y="84965"/>
            <a:ext cx="8915400" cy="391707"/>
          </a:xfrm>
          <a:prstGeom prst="rect">
            <a:avLst/>
          </a:prstGeom>
        </p:spPr>
        <p:txBody>
          <a:bodyPr anchor="ctr"/>
          <a:lstStyle>
            <a:lvl1pPr algn="l">
              <a:defRPr sz="20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4" name="텍스트 개체 틀 3"/>
          <p:cNvSpPr>
            <a:spLocks noGrp="1"/>
          </p:cNvSpPr>
          <p:nvPr>
            <p:ph type="body" sz="quarter" idx="10"/>
          </p:nvPr>
        </p:nvSpPr>
        <p:spPr>
          <a:xfrm>
            <a:off x="200472" y="692150"/>
            <a:ext cx="9217025" cy="4537075"/>
          </a:xfrm>
          <a:prstGeom prst="rect">
            <a:avLst/>
          </a:prstGeom>
        </p:spPr>
        <p:txBody>
          <a:bodyPr/>
          <a:lstStyle>
            <a:lvl1pPr marL="0" indent="0">
              <a:buFont typeface="Arial" pitchFamily="34" charset="0"/>
              <a:buNone/>
              <a:defRPr sz="1400" b="1">
                <a:latin typeface="맑은 고딕" pitchFamily="50" charset="-127"/>
                <a:ea typeface="맑은 고딕" pitchFamily="50" charset="-127"/>
              </a:defRPr>
            </a:lvl1pPr>
            <a:lvl2pPr marL="357188" indent="-174625">
              <a:buFont typeface="Wingdings" pitchFamily="2" charset="2"/>
              <a:buChar char="§"/>
              <a:defRPr sz="1200" b="0">
                <a:latin typeface="맑은 고딕" pitchFamily="50" charset="-127"/>
                <a:ea typeface="맑은 고딕" pitchFamily="50" charset="-127"/>
              </a:defRPr>
            </a:lvl2pPr>
            <a:lvl3pPr marL="541338" indent="-180975">
              <a:buFont typeface="Wingdings" pitchFamily="2" charset="2"/>
              <a:buChar char="ü"/>
              <a:defRPr sz="1100">
                <a:latin typeface="맑은 고딕" pitchFamily="50" charset="-127"/>
                <a:ea typeface="맑은 고딕" pitchFamily="50" charset="-127"/>
              </a:defRPr>
            </a:lvl3pPr>
            <a:lvl4pPr marL="719138" indent="-177800">
              <a:defRPr sz="1100">
                <a:latin typeface="맑은 고딕" pitchFamily="50" charset="-127"/>
                <a:ea typeface="맑은 고딕" pitchFamily="50" charset="-127"/>
              </a:defRPr>
            </a:lvl4pPr>
            <a:lvl5pPr marL="631825" indent="-228600">
              <a:buFont typeface="맑은 고딕" pitchFamily="50" charset="-127"/>
              <a:buChar char="－"/>
              <a:defRPr sz="1100">
                <a:latin typeface="맑은 고딕" pitchFamily="50" charset="-127"/>
                <a:ea typeface="맑은 고딕" pitchFamily="50"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p:txBody>
      </p:sp>
      <p:sp>
        <p:nvSpPr>
          <p:cNvPr id="5" name="슬라이드 번호 개체 틀 5"/>
          <p:cNvSpPr>
            <a:spLocks noGrp="1"/>
          </p:cNvSpPr>
          <p:nvPr>
            <p:ph type="sldNum" sz="quarter" idx="11"/>
          </p:nvPr>
        </p:nvSpPr>
        <p:spPr>
          <a:xfrm>
            <a:off x="7178675" y="6524625"/>
            <a:ext cx="2311400" cy="268288"/>
          </a:xfrm>
          <a:prstGeom prst="rect">
            <a:avLst/>
          </a:prstGeom>
        </p:spPr>
        <p:txBody>
          <a:bodyPr vert="horz" wrap="square" lIns="91440" tIns="45720" rIns="91440" bIns="45720" numCol="1" anchor="ctr" anchorCtr="0" compatLnSpc="1">
            <a:prstTxWarp prst="textNoShape">
              <a:avLst/>
            </a:prstTxWarp>
          </a:bodyPr>
          <a:lstStyle>
            <a:lvl1pPr algn="r" eaLnBrk="1" latinLnBrk="1" hangingPunct="1">
              <a:defRPr sz="1200" b="1">
                <a:solidFill>
                  <a:srgbClr val="7F7F7F"/>
                </a:solidFill>
                <a:latin typeface="Malgun Gothic" panose="020B0503020000020004" pitchFamily="50" charset="-127"/>
                <a:ea typeface="Malgun Gothic" panose="020B0503020000020004" pitchFamily="50" charset="-127"/>
              </a:defRPr>
            </a:lvl1pPr>
          </a:lstStyle>
          <a:p>
            <a:pPr>
              <a:defRPr/>
            </a:pPr>
            <a:fld id="{32F3F4A2-1BBB-4567-BBD1-005A7A4CF15F}" type="slidenum">
              <a:rPr lang="ko-KR" altLang="en-US"/>
              <a:pPr>
                <a:defRPr/>
              </a:pPr>
              <a:t>‹#›</a:t>
            </a:fld>
            <a:endParaRPr lang="ko-KR" altLang="en-US" dirty="0"/>
          </a:p>
        </p:txBody>
      </p:sp>
    </p:spTree>
    <p:extLst>
      <p:ext uri="{BB962C8B-B14F-4D97-AF65-F5344CB8AC3E}">
        <p14:creationId xmlns:p14="http://schemas.microsoft.com/office/powerpoint/2010/main" val="23418884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3" name="내용 개체 틀 2"/>
          <p:cNvSpPr>
            <a:spLocks noGrp="1"/>
          </p:cNvSpPr>
          <p:nvPr>
            <p:ph idx="1"/>
          </p:nvPr>
        </p:nvSpPr>
        <p:spPr>
          <a:xfrm>
            <a:off x="166654" y="642918"/>
            <a:ext cx="9572692" cy="5483251"/>
          </a:xfrm>
          <a:prstGeom prst="rect">
            <a:avLst/>
          </a:prstGeom>
        </p:spPr>
        <p:txBody>
          <a:bodyPr/>
          <a:lstStyle>
            <a:lvl1pPr marL="177800" indent="-177800">
              <a:defRPr sz="1800">
                <a:latin typeface="HY헤드라인M" pitchFamily="18" charset="-127"/>
                <a:ea typeface="HY헤드라인M" pitchFamily="18" charset="-127"/>
              </a:defRPr>
            </a:lvl1pPr>
            <a:lvl2pPr marL="444500" indent="-266700">
              <a:defRPr sz="1600">
                <a:latin typeface="HY헤드라인M" pitchFamily="18" charset="-127"/>
                <a:ea typeface="HY헤드라인M" pitchFamily="18" charset="-127"/>
              </a:defRPr>
            </a:lvl2pPr>
            <a:lvl3pPr marL="723900" indent="-279400">
              <a:buFont typeface="Wingdings" pitchFamily="2" charset="2"/>
              <a:buChar char="ü"/>
              <a:defRPr sz="1400">
                <a:latin typeface="HY헤드라인M" pitchFamily="18" charset="-127"/>
                <a:ea typeface="HY헤드라인M" pitchFamily="18" charset="-127"/>
              </a:defRPr>
            </a:lvl3pPr>
            <a:lvl4pPr marL="901700" indent="-279400">
              <a:buFont typeface="Wingdings" pitchFamily="2" charset="2"/>
              <a:buChar char="ü"/>
              <a:defRPr sz="1400">
                <a:latin typeface="HY헤드라인M" pitchFamily="18" charset="-127"/>
                <a:ea typeface="HY헤드라인M" pitchFamily="18" charset="-127"/>
              </a:defRPr>
            </a:lvl4pPr>
            <a:lvl5pPr marL="1079500" indent="-266700">
              <a:buFont typeface="Wingdings" pitchFamily="2" charset="2"/>
              <a:buChar char="ü"/>
              <a:defRPr sz="1400">
                <a:latin typeface="HY헤드라인M" pitchFamily="18" charset="-127"/>
                <a:ea typeface="HY헤드라인M" pitchFamily="18" charset="-127"/>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제목 3"/>
          <p:cNvSpPr>
            <a:spLocks noGrp="1"/>
          </p:cNvSpPr>
          <p:nvPr>
            <p:ph type="title"/>
          </p:nvPr>
        </p:nvSpPr>
        <p:spPr>
          <a:xfrm>
            <a:off x="0" y="63500"/>
            <a:ext cx="8915400" cy="385742"/>
          </a:xfrm>
          <a:prstGeom prst="rect">
            <a:avLst/>
          </a:prstGeom>
        </p:spPr>
        <p:txBody>
          <a:bodyPr/>
          <a:lstStyle>
            <a:lvl1pPr algn="l">
              <a:defRPr/>
            </a:lvl1pPr>
          </a:lstStyle>
          <a:p>
            <a:r>
              <a:rPr lang="ko-KR" altLang="en-US" dirty="0" smtClean="0"/>
              <a:t>마스터 제목 스타일 편집</a:t>
            </a:r>
            <a:endParaRPr lang="ko-KR" altLang="en-US" dirty="0"/>
          </a:p>
        </p:txBody>
      </p:sp>
      <p:sp>
        <p:nvSpPr>
          <p:cNvPr id="5" name="슬라이드 번호 개체 틀 7"/>
          <p:cNvSpPr>
            <a:spLocks noGrp="1"/>
          </p:cNvSpPr>
          <p:nvPr>
            <p:ph type="sldNum" sz="quarter" idx="10"/>
          </p:nvPr>
        </p:nvSpPr>
        <p:spPr>
          <a:xfrm>
            <a:off x="3738563" y="6492875"/>
            <a:ext cx="2311400" cy="365125"/>
          </a:xfrm>
          <a:prstGeom prst="rect">
            <a:avLst/>
          </a:prstGeom>
        </p:spPr>
        <p:txBody>
          <a:bodyPr vert="horz" wrap="square" lIns="91440" tIns="45720" rIns="91440" bIns="45720" numCol="1" anchor="t" anchorCtr="0" compatLnSpc="1">
            <a:prstTxWarp prst="textNoShape">
              <a:avLst/>
            </a:prstTxWarp>
          </a:bodyPr>
          <a:lstStyle>
            <a:lvl1pPr eaLnBrk="1" latinLnBrk="1" hangingPunct="1">
              <a:defRPr/>
            </a:lvl1pPr>
          </a:lstStyle>
          <a:p>
            <a:pPr>
              <a:defRPr/>
            </a:pPr>
            <a:r>
              <a:rPr lang="en-US" altLang="ko-KR" dirty="0"/>
              <a:t>Page </a:t>
            </a:r>
            <a:fld id="{85C06E41-053B-4E7C-9F3E-7C8DF2E054E8}" type="slidenum">
              <a:rPr lang="en-US" altLang="ko-KR"/>
              <a:pPr>
                <a:defRPr/>
              </a:pPr>
              <a:t>‹#›</a:t>
            </a:fld>
            <a:endParaRPr lang="en-US" altLang="ko-KR" dirty="0"/>
          </a:p>
        </p:txBody>
      </p:sp>
    </p:spTree>
    <p:extLst>
      <p:ext uri="{BB962C8B-B14F-4D97-AF65-F5344CB8AC3E}">
        <p14:creationId xmlns:p14="http://schemas.microsoft.com/office/powerpoint/2010/main" val="32310541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Tree>
    <p:extLst>
      <p:ext uri="{BB962C8B-B14F-4D97-AF65-F5344CB8AC3E}">
        <p14:creationId xmlns:p14="http://schemas.microsoft.com/office/powerpoint/2010/main" val="350165399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빈 화면">
    <p:spTree>
      <p:nvGrpSpPr>
        <p:cNvPr id="1" name=""/>
        <p:cNvGrpSpPr/>
        <p:nvPr/>
      </p:nvGrpSpPr>
      <p:grpSpPr>
        <a:xfrm>
          <a:off x="0" y="0"/>
          <a:ext cx="0" cy="0"/>
          <a:chOff x="0" y="0"/>
          <a:chExt cx="0" cy="0"/>
        </a:xfrm>
      </p:grpSpPr>
      <p:sp>
        <p:nvSpPr>
          <p:cNvPr id="2" name="제목 1"/>
          <p:cNvSpPr>
            <a:spLocks noGrp="1"/>
          </p:cNvSpPr>
          <p:nvPr>
            <p:ph type="title"/>
          </p:nvPr>
        </p:nvSpPr>
        <p:spPr>
          <a:xfrm>
            <a:off x="323880" y="71414"/>
            <a:ext cx="8915400" cy="439718"/>
          </a:xfrm>
          <a:prstGeom prst="rect">
            <a:avLst/>
          </a:prstGeom>
        </p:spPr>
        <p:txBody>
          <a:bodyPr/>
          <a:lstStyle>
            <a:lvl1pPr algn="l">
              <a:defRPr sz="2400" b="1">
                <a:latin typeface="맑은 고딕" pitchFamily="50" charset="-127"/>
                <a:ea typeface="맑은 고딕" pitchFamily="50" charset="-127"/>
              </a:defRPr>
            </a:lvl1pPr>
          </a:lstStyle>
          <a:p>
            <a:r>
              <a:rPr lang="ko-KR" altLang="en-US" dirty="0" smtClean="0"/>
              <a:t>마스터 제목 스타일 편집</a:t>
            </a:r>
            <a:endParaRPr lang="ko-KR" altLang="en-US" dirty="0"/>
          </a:p>
        </p:txBody>
      </p:sp>
      <p:sp>
        <p:nvSpPr>
          <p:cNvPr id="3" name="텍스트 개체 틀 3"/>
          <p:cNvSpPr>
            <a:spLocks noGrp="1"/>
          </p:cNvSpPr>
          <p:nvPr>
            <p:ph type="body" sz="quarter" idx="10"/>
          </p:nvPr>
        </p:nvSpPr>
        <p:spPr>
          <a:xfrm>
            <a:off x="344488" y="714356"/>
            <a:ext cx="8894792" cy="457200"/>
          </a:xfrm>
          <a:prstGeom prst="rect">
            <a:avLst/>
          </a:prstGeom>
        </p:spPr>
        <p:txBody>
          <a:bodyPr/>
          <a:lstStyle>
            <a:lvl1pPr>
              <a:buNone/>
              <a:defRPr sz="1600">
                <a:latin typeface="맑은 고딕" pitchFamily="50" charset="-127"/>
                <a:ea typeface="맑은 고딕" pitchFamily="50" charset="-127"/>
              </a:defRPr>
            </a:lvl1pPr>
            <a:lvl2pPr>
              <a:defRPr sz="1600">
                <a:latin typeface="맑은 고딕" pitchFamily="50" charset="-127"/>
                <a:ea typeface="맑은 고딕" pitchFamily="50" charset="-127"/>
              </a:defRPr>
            </a:lvl2pPr>
            <a:lvl3pPr>
              <a:defRPr sz="1400">
                <a:latin typeface="맑은 고딕" pitchFamily="50" charset="-127"/>
                <a:ea typeface="맑은 고딕" pitchFamily="50" charset="-127"/>
              </a:defRPr>
            </a:lvl3pPr>
            <a:lvl4pPr>
              <a:defRPr sz="1200">
                <a:latin typeface="맑은 고딕" pitchFamily="50" charset="-127"/>
                <a:ea typeface="맑은 고딕" pitchFamily="50" charset="-127"/>
              </a:defRPr>
            </a:lvl4pPr>
            <a:lvl5pPr>
              <a:defRPr sz="1200">
                <a:latin typeface="맑은 고딕" pitchFamily="50" charset="-127"/>
                <a:ea typeface="맑은 고딕" pitchFamily="50" charset="-127"/>
              </a:defRPr>
            </a:lvl5pPr>
          </a:lstStyle>
          <a:p>
            <a:pPr lvl="0"/>
            <a:r>
              <a:rPr lang="ko-KR" altLang="en-US" dirty="0" smtClean="0"/>
              <a:t>마스터 텍스트 스타일을 편집합니다</a:t>
            </a:r>
          </a:p>
        </p:txBody>
      </p:sp>
      <p:sp>
        <p:nvSpPr>
          <p:cNvPr id="4" name="슬라이드 번호 개체 틀 7"/>
          <p:cNvSpPr>
            <a:spLocks noGrp="1"/>
          </p:cNvSpPr>
          <p:nvPr>
            <p:ph type="sldNum" sz="quarter" idx="11"/>
          </p:nvPr>
        </p:nvSpPr>
        <p:spPr>
          <a:xfrm>
            <a:off x="3738563" y="6492875"/>
            <a:ext cx="2311400" cy="365125"/>
          </a:xfrm>
          <a:prstGeom prst="rect">
            <a:avLst/>
          </a:prstGeom>
        </p:spPr>
        <p:txBody>
          <a:bodyPr vert="horz" wrap="square" lIns="91440" tIns="45720" rIns="91440" bIns="45720" numCol="1" anchor="t" anchorCtr="0" compatLnSpc="1">
            <a:prstTxWarp prst="textNoShape">
              <a:avLst/>
            </a:prstTxWarp>
          </a:bodyPr>
          <a:lstStyle>
            <a:lvl1pPr eaLnBrk="1" latinLnBrk="1" hangingPunct="1">
              <a:defRPr sz="1000"/>
            </a:lvl1pPr>
          </a:lstStyle>
          <a:p>
            <a:pPr algn="ctr">
              <a:defRPr/>
            </a:pPr>
            <a:fld id="{3B401806-4231-4DE8-A758-C6ACA20AC1A7}" type="slidenum">
              <a:rPr lang="en-US" altLang="ko-KR" smtClean="0"/>
              <a:pPr algn="ctr">
                <a:defRPr/>
              </a:pPr>
              <a:t>‹#›</a:t>
            </a:fld>
            <a:endParaRPr lang="en-US" altLang="ko-KR" dirty="0"/>
          </a:p>
        </p:txBody>
      </p:sp>
    </p:spTree>
    <p:extLst>
      <p:ext uri="{BB962C8B-B14F-4D97-AF65-F5344CB8AC3E}">
        <p14:creationId xmlns:p14="http://schemas.microsoft.com/office/powerpoint/2010/main" val="413833179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1"/>
          <p:cNvSpPr>
            <a:spLocks noChangeShapeType="1"/>
          </p:cNvSpPr>
          <p:nvPr userDrawn="1"/>
        </p:nvSpPr>
        <p:spPr bwMode="auto">
          <a:xfrm>
            <a:off x="0" y="64531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a:p>
        </p:txBody>
      </p:sp>
      <p:pic>
        <p:nvPicPr>
          <p:cNvPr id="1027" name="Picture 2" descr="D:\●2012\업무계획수립\과제별\슬로건 변경안\신규 Visual파일들\LGE Slogan 2012_Text_PPT용.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73050" y="6600825"/>
            <a:ext cx="28797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Line 14"/>
          <p:cNvSpPr>
            <a:spLocks noChangeShapeType="1"/>
          </p:cNvSpPr>
          <p:nvPr userDrawn="1"/>
        </p:nvSpPr>
        <p:spPr bwMode="auto">
          <a:xfrm>
            <a:off x="0" y="534988"/>
            <a:ext cx="9906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ko-KR" altLang="en-US" dirty="0"/>
          </a:p>
        </p:txBody>
      </p:sp>
      <p:pic>
        <p:nvPicPr>
          <p:cNvPr id="1029"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b="6294"/>
          <a:stretch>
            <a:fillRect/>
          </a:stretch>
        </p:blipFill>
        <p:spPr bwMode="auto">
          <a:xfrm>
            <a:off x="9064625" y="34925"/>
            <a:ext cx="7620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 Box 168"/>
          <p:cNvSpPr txBox="1">
            <a:spLocks noChangeArrowheads="1"/>
          </p:cNvSpPr>
          <p:nvPr userDrawn="1"/>
        </p:nvSpPr>
        <p:spPr bwMode="auto">
          <a:xfrm>
            <a:off x="4089400" y="153988"/>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latinLnBrk="1" hangingPunct="1">
              <a:defRPr/>
            </a:pPr>
            <a:r>
              <a:rPr lang="en-US" altLang="ko-KR" sz="1200" dirty="0" smtClean="0">
                <a:solidFill>
                  <a:srgbClr val="C0C0C0"/>
                </a:solidFill>
                <a:latin typeface="Arial" charset="0"/>
                <a:ea typeface="맑은 고딕" pitchFamily="50" charset="-127"/>
              </a:rPr>
              <a:t>LGE Internal Use Only</a:t>
            </a:r>
          </a:p>
        </p:txBody>
      </p:sp>
    </p:spTree>
  </p:cSld>
  <p:clrMap bg1="lt1" tx1="dk1" bg2="lt2" tx2="dk2" accent1="accent1" accent2="accent2" accent3="accent3" accent4="accent4" accent5="accent5" accent6="accent6" hlink="hlink" folHlink="folHlink"/>
  <p:sldLayoutIdLst>
    <p:sldLayoutId id="2147483896" r:id="rId1"/>
    <p:sldLayoutId id="2147483893" r:id="rId2"/>
    <p:sldLayoutId id="2147483897" r:id="rId3"/>
    <p:sldLayoutId id="2147483898" r:id="rId4"/>
    <p:sldLayoutId id="2147483894" r:id="rId5"/>
    <p:sldLayoutId id="2147483895" r:id="rId6"/>
  </p:sldLayoutIdLst>
  <p:timing>
    <p:tnLst>
      <p:par>
        <p:cTn id="1" dur="indefinite" restart="never" nodeType="tmRoot"/>
      </p:par>
    </p:tnLst>
  </p:timing>
  <p:hf hdr="0" dt="0"/>
  <p:txStyles>
    <p:titleStyle>
      <a:lvl1pPr algn="ctr" rtl="0" eaLnBrk="0" fontAlgn="base" latinLnBrk="1" hangingPunct="0">
        <a:spcBef>
          <a:spcPct val="0"/>
        </a:spcBef>
        <a:spcAft>
          <a:spcPct val="0"/>
        </a:spcAft>
        <a:defRPr kumimoji="1" sz="4400">
          <a:solidFill>
            <a:schemeClr val="tx2"/>
          </a:solidFill>
          <a:latin typeface="+mj-lt"/>
          <a:ea typeface="+mj-ea"/>
          <a:cs typeface="+mj-cs"/>
        </a:defRPr>
      </a:lvl1pPr>
      <a:lvl2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2pPr>
      <a:lvl3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3pPr>
      <a:lvl4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4pPr>
      <a:lvl5pPr algn="ctr" rtl="0" eaLnBrk="0" fontAlgn="base" latinLnBrk="1" hangingPunct="0">
        <a:spcBef>
          <a:spcPct val="0"/>
        </a:spcBef>
        <a:spcAft>
          <a:spcPct val="0"/>
        </a:spcAft>
        <a:defRPr kumimoji="1" sz="4400">
          <a:solidFill>
            <a:schemeClr val="tx2"/>
          </a:solidFill>
          <a:latin typeface="굴림" pitchFamily="50" charset="-127"/>
          <a:ea typeface="굴림" pitchFamily="50" charset="-127"/>
        </a:defRPr>
      </a:lvl5pPr>
      <a:lvl6pPr marL="457200" algn="ctr" rtl="0" fontAlgn="base" latinLnBrk="1">
        <a:spcBef>
          <a:spcPct val="0"/>
        </a:spcBef>
        <a:spcAft>
          <a:spcPct val="0"/>
        </a:spcAft>
        <a:defRPr kumimoji="1" sz="4400">
          <a:solidFill>
            <a:schemeClr val="tx2"/>
          </a:solidFill>
          <a:latin typeface="굴림" pitchFamily="50" charset="-127"/>
          <a:ea typeface="굴림" pitchFamily="50" charset="-127"/>
        </a:defRPr>
      </a:lvl6pPr>
      <a:lvl7pPr marL="914400" algn="ctr" rtl="0" fontAlgn="base" latinLnBrk="1">
        <a:spcBef>
          <a:spcPct val="0"/>
        </a:spcBef>
        <a:spcAft>
          <a:spcPct val="0"/>
        </a:spcAft>
        <a:defRPr kumimoji="1" sz="4400">
          <a:solidFill>
            <a:schemeClr val="tx2"/>
          </a:solidFill>
          <a:latin typeface="굴림" pitchFamily="50" charset="-127"/>
          <a:ea typeface="굴림" pitchFamily="50" charset="-127"/>
        </a:defRPr>
      </a:lvl7pPr>
      <a:lvl8pPr marL="1371600" algn="ctr" rtl="0" fontAlgn="base" latinLnBrk="1">
        <a:spcBef>
          <a:spcPct val="0"/>
        </a:spcBef>
        <a:spcAft>
          <a:spcPct val="0"/>
        </a:spcAft>
        <a:defRPr kumimoji="1" sz="4400">
          <a:solidFill>
            <a:schemeClr val="tx2"/>
          </a:solidFill>
          <a:latin typeface="굴림" pitchFamily="50" charset="-127"/>
          <a:ea typeface="굴림" pitchFamily="50" charset="-127"/>
        </a:defRPr>
      </a:lvl8pPr>
      <a:lvl9pPr marL="1828800" algn="ctr" rtl="0" fontAlgn="base" latinLnBrk="1">
        <a:spcBef>
          <a:spcPct val="0"/>
        </a:spcBef>
        <a:spcAft>
          <a:spcPct val="0"/>
        </a:spcAft>
        <a:defRPr kumimoji="1" sz="4400">
          <a:solidFill>
            <a:schemeClr val="tx2"/>
          </a:solidFill>
          <a:latin typeface="굴림" pitchFamily="50" charset="-127"/>
          <a:ea typeface="굴림" pitchFamily="50"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Text Box 168"/>
          <p:cNvSpPr txBox="1">
            <a:spLocks noChangeArrowheads="1"/>
          </p:cNvSpPr>
          <p:nvPr/>
        </p:nvSpPr>
        <p:spPr bwMode="auto">
          <a:xfrm>
            <a:off x="7905750" y="265113"/>
            <a:ext cx="1716088" cy="284162"/>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200" dirty="0">
                <a:solidFill>
                  <a:srgbClr val="C0C0C0"/>
                </a:solidFill>
                <a:latin typeface="Arial" panose="020B0604020202020204" pitchFamily="34" charset="0"/>
                <a:ea typeface="돋움" panose="020B0600000101010101" pitchFamily="50" charset="-127"/>
              </a:rPr>
              <a:t>LGE Internal Use Only</a:t>
            </a:r>
          </a:p>
        </p:txBody>
      </p:sp>
      <p:sp>
        <p:nvSpPr>
          <p:cNvPr id="7171" name="Rectangle 30"/>
          <p:cNvSpPr>
            <a:spLocks noChangeArrowheads="1"/>
          </p:cNvSpPr>
          <p:nvPr/>
        </p:nvSpPr>
        <p:spPr bwMode="auto">
          <a:xfrm>
            <a:off x="1276350" y="1252538"/>
            <a:ext cx="7353300" cy="1712912"/>
          </a:xfrm>
          <a:prstGeom prst="rect">
            <a:avLst/>
          </a:prstGeom>
          <a:solidFill>
            <a:srgbClr val="EAEAEA"/>
          </a:solidFill>
          <a:ln w="9525">
            <a:solidFill>
              <a:srgbClr val="C0C0C0"/>
            </a:solidFill>
            <a:miter lim="800000"/>
            <a:headEnd/>
            <a:tailEnd/>
          </a:ln>
        </p:spPr>
        <p:txBody>
          <a:bodyPr wrap="none"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800" b="1" dirty="0">
                <a:latin typeface="Malgun Gothic" panose="020B0503020000020004" pitchFamily="50" charset="-127"/>
                <a:ea typeface="Malgun Gothic" panose="020B0503020000020004" pitchFamily="50" charset="-127"/>
              </a:rPr>
              <a:t>SW </a:t>
            </a:r>
            <a:r>
              <a:rPr lang="en-US" altLang="ko-KR" sz="2800" b="1" dirty="0" smtClean="0">
                <a:latin typeface="Malgun Gothic" panose="020B0503020000020004" pitchFamily="50" charset="-127"/>
                <a:ea typeface="Malgun Gothic" panose="020B0503020000020004" pitchFamily="50" charset="-127"/>
              </a:rPr>
              <a:t>Detailed Design and </a:t>
            </a:r>
          </a:p>
          <a:p>
            <a:pPr algn="ctr" eaLnBrk="1" latinLnBrk="1" hangingPunct="1"/>
            <a:r>
              <a:rPr lang="en-US" altLang="ko-KR" sz="2800" b="1" dirty="0" smtClean="0">
                <a:latin typeface="Malgun Gothic" panose="020B0503020000020004" pitchFamily="50" charset="-127"/>
                <a:ea typeface="Malgun Gothic" panose="020B0503020000020004" pitchFamily="50" charset="-127"/>
              </a:rPr>
              <a:t>Implementation Guide</a:t>
            </a:r>
            <a:endParaRPr lang="en-US" altLang="ko-KR" sz="2800" b="1" dirty="0">
              <a:latin typeface="Malgun Gothic" panose="020B0503020000020004" pitchFamily="50" charset="-127"/>
              <a:ea typeface="Malgun Gothic" panose="020B0503020000020004" pitchFamily="50" charset="-127"/>
            </a:endParaRPr>
          </a:p>
        </p:txBody>
      </p:sp>
      <p:pic>
        <p:nvPicPr>
          <p:cNvPr id="7172" name="그림 5" descr="백색바탕.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5656263"/>
            <a:ext cx="1630362"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Text Box 6"/>
          <p:cNvSpPr txBox="1">
            <a:spLocks noChangeArrowheads="1"/>
          </p:cNvSpPr>
          <p:nvPr/>
        </p:nvSpPr>
        <p:spPr bwMode="auto">
          <a:xfrm>
            <a:off x="3751582" y="4810125"/>
            <a:ext cx="240283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latinLnBrk="1" hangingPunct="1"/>
            <a:r>
              <a:rPr lang="en-US" altLang="ko-KR" sz="2000" b="1" dirty="0" smtClean="0">
                <a:latin typeface="맑은 고딕" panose="020B0503020000020004" pitchFamily="50" charset="-127"/>
                <a:ea typeface="맑은 고딕" panose="020B0503020000020004" pitchFamily="50" charset="-127"/>
                <a:cs typeface="Arial" panose="020B0604020202020204" pitchFamily="34" charset="0"/>
              </a:rPr>
              <a:t>SW </a:t>
            </a:r>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Process Unit</a:t>
            </a:r>
          </a:p>
          <a:p>
            <a:pPr algn="ctr" eaLnBrk="1" latinLnBrk="1" hangingPunct="1"/>
            <a:r>
              <a:rPr lang="en-US" altLang="ko-KR" sz="2000" b="1" dirty="0">
                <a:latin typeface="맑은 고딕" panose="020B0503020000020004" pitchFamily="50" charset="-127"/>
                <a:ea typeface="맑은 고딕" panose="020B0503020000020004" pitchFamily="50" charset="-127"/>
                <a:cs typeface="Arial" panose="020B0604020202020204" pitchFamily="34" charset="0"/>
              </a:rPr>
              <a:t>LG Electronics Inc.</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제목 1"/>
          <p:cNvSpPr>
            <a:spLocks noGrp="1"/>
          </p:cNvSpPr>
          <p:nvPr>
            <p:ph type="title"/>
          </p:nvPr>
        </p:nvSpPr>
        <p:spPr bwMode="auto">
          <a:xfrm>
            <a:off x="323850" y="71438"/>
            <a:ext cx="9813726"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a:solidFill>
                  <a:schemeClr val="tx1"/>
                </a:solidFill>
                <a:latin typeface="Malgun Gothic" panose="020B0503020000020004" pitchFamily="50" charset="-127"/>
                <a:ea typeface="Malgun Gothic" panose="020B0503020000020004" pitchFamily="50" charset="-127"/>
              </a:rPr>
              <a:t>6</a:t>
            </a:r>
            <a:r>
              <a:rPr lang="en-US" altLang="ko-KR" dirty="0" smtClean="0">
                <a:solidFill>
                  <a:schemeClr val="tx1"/>
                </a:solidFill>
                <a:latin typeface="Malgun Gothic" panose="020B0503020000020004" pitchFamily="50" charset="-127"/>
                <a:ea typeface="Malgun Gothic" panose="020B0503020000020004" pitchFamily="50" charset="-127"/>
              </a:rPr>
              <a:t>. </a:t>
            </a:r>
            <a:r>
              <a:rPr lang="en-US" altLang="ko-KR" dirty="0" smtClean="0">
                <a:solidFill>
                  <a:srgbClr val="000000"/>
                </a:solidFill>
                <a:latin typeface="Malgun Gothic" panose="020B0503020000020004" pitchFamily="50" charset="-127"/>
                <a:ea typeface="Malgun Gothic" panose="020B0503020000020004" pitchFamily="50" charset="-127"/>
              </a:rPr>
              <a:t>Requirements </a:t>
            </a:r>
            <a:r>
              <a:rPr lang="en-US" altLang="ko-KR" dirty="0">
                <a:solidFill>
                  <a:srgbClr val="000000"/>
                </a:solidFill>
                <a:latin typeface="Malgun Gothic" panose="020B0503020000020004" pitchFamily="50" charset="-127"/>
                <a:ea typeface="Malgun Gothic" panose="020B0503020000020004" pitchFamily="50" charset="-127"/>
              </a:rPr>
              <a:t>Traceability Management (SDD-Source code)</a:t>
            </a:r>
            <a:br>
              <a:rPr lang="en-US" altLang="ko-KR" dirty="0">
                <a:solidFill>
                  <a:srgbClr val="000000"/>
                </a:solidFill>
                <a:latin typeface="Malgun Gothic" panose="020B0503020000020004" pitchFamily="50" charset="-127"/>
                <a:ea typeface="Malgun Gothic" panose="020B0503020000020004" pitchFamily="50" charset="-127"/>
              </a:rPr>
            </a:b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1267" name="텍스트 개체 틀 2"/>
          <p:cNvSpPr>
            <a:spLocks noGrp="1"/>
          </p:cNvSpPr>
          <p:nvPr>
            <p:ph type="body" sz="quarter" idx="10"/>
          </p:nvPr>
        </p:nvSpPr>
        <p:spPr bwMode="auto">
          <a:xfrm>
            <a:off x="323850" y="2492896"/>
            <a:ext cx="9093200" cy="38163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6.1 Establish traceability </a:t>
            </a:r>
            <a:r>
              <a:rPr lang="en-US" altLang="ko-KR" sz="1100" b="1" dirty="0">
                <a:latin typeface="Malgun Gothic" panose="020B0503020000020004" pitchFamily="50" charset="-127"/>
                <a:ea typeface="Malgun Gothic" panose="020B0503020000020004" pitchFamily="50" charset="-127"/>
              </a:rPr>
              <a:t>(</a:t>
            </a:r>
            <a:r>
              <a:rPr lang="en-US" altLang="ko-KR" sz="1100" b="1" dirty="0" smtClean="0">
                <a:latin typeface="Malgun Gothic" panose="020B0503020000020004" pitchFamily="50" charset="-127"/>
                <a:ea typeface="Malgun Gothic" panose="020B0503020000020004" pitchFamily="50" charset="-127"/>
              </a:rPr>
              <a:t>SDD-Source code)</a:t>
            </a:r>
            <a:endParaRPr lang="en-US" altLang="ko-KR" sz="1100" b="1" dirty="0">
              <a:latin typeface="Malgun Gothic" panose="020B0503020000020004" pitchFamily="50" charset="-127"/>
              <a:ea typeface="Malgun Gothic" panose="020B0503020000020004" pitchFamily="50" charset="-127"/>
            </a:endParaRPr>
          </a:p>
          <a:p>
            <a:pPr marL="0" indent="0"/>
            <a:endParaRPr lang="en-US" altLang="ko-KR" sz="1100" b="1" dirty="0" smtClean="0">
              <a:latin typeface="Malgun Gothic" panose="020B0503020000020004" pitchFamily="50" charset="-127"/>
              <a:ea typeface="Malgun Gothic" panose="020B0503020000020004" pitchFamily="50" charset="-127"/>
            </a:endParaRPr>
          </a:p>
          <a:p>
            <a:pPr marL="271463" lvl="2" indent="0" eaLnBrk="1" hangingPunct="1">
              <a:buNone/>
              <a:defRPr/>
            </a:pPr>
            <a:r>
              <a:rPr kumimoji="0" lang="en-US" altLang="ko-KR" sz="1100" dirty="0">
                <a:latin typeface="Malgun Gothic" panose="020B0503020000020004" pitchFamily="50" charset="-127"/>
                <a:ea typeface="Malgun Gothic" panose="020B0503020000020004" pitchFamily="50" charset="-127"/>
              </a:rPr>
              <a:t>SW Engineer </a:t>
            </a:r>
            <a:r>
              <a:rPr kumimoji="0" lang="en-US" altLang="ko-KR" sz="1100" dirty="0" smtClean="0">
                <a:latin typeface="Malgun Gothic" panose="020B0503020000020004" pitchFamily="50" charset="-127"/>
                <a:ea typeface="Malgun Gothic" panose="020B0503020000020004" pitchFamily="50" charset="-127"/>
              </a:rPr>
              <a:t>establishes traceability </a:t>
            </a:r>
            <a:r>
              <a:rPr kumimoji="0" lang="en-US" altLang="ko-KR" sz="1100" dirty="0">
                <a:latin typeface="Malgun Gothic" panose="020B0503020000020004" pitchFamily="50" charset="-127"/>
                <a:ea typeface="Malgun Gothic" panose="020B0503020000020004" pitchFamily="50" charset="-127"/>
              </a:rPr>
              <a:t>between SW detailed design and SW </a:t>
            </a:r>
            <a:r>
              <a:rPr kumimoji="0" lang="en-US" altLang="ko-KR" sz="1100" dirty="0" smtClean="0">
                <a:latin typeface="Malgun Gothic" panose="020B0503020000020004" pitchFamily="50" charset="-127"/>
                <a:ea typeface="Malgun Gothic" panose="020B0503020000020004" pitchFamily="50" charset="-127"/>
              </a:rPr>
              <a:t>Source code by </a:t>
            </a:r>
            <a:r>
              <a:rPr kumimoji="0" lang="en-US" altLang="ko-KR" sz="1100" dirty="0">
                <a:latin typeface="Malgun Gothic" panose="020B0503020000020004" pitchFamily="50" charset="-127"/>
                <a:ea typeface="Malgun Gothic" panose="020B0503020000020004" pitchFamily="50" charset="-127"/>
              </a:rPr>
              <a:t>considering the items below.</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a:latin typeface="Malgun Gothic" panose="020B0503020000020004" pitchFamily="50" charset="-127"/>
              <a:ea typeface="Malgun Gothic" panose="020B0503020000020004" pitchFamily="50" charset="-127"/>
            </a:endParaRP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In principle, requirements should be traced 100% without omission in the work products of each development stage.</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In principle, requirements should be traced according to the structure and scope of traceability management of work products defined in the 'Requirements Traceability Guide'. However, in the case of SW Source Code, since it is managed in a separate configuration management repository, the tracking target in the SW Source Code can be described or the tracking relationship can be managed according to the Naming Rule.</a:t>
            </a:r>
          </a:p>
          <a:p>
            <a:pPr marL="534988" lvl="4" indent="-171450">
              <a:buFontTx/>
              <a:buChar char="-"/>
              <a:defRPr/>
            </a:pPr>
            <a:r>
              <a:rPr lang="en-US" altLang="ko-KR" sz="1100" dirty="0" smtClean="0">
                <a:latin typeface="Malgun Gothic" panose="020B0503020000020004" pitchFamily="50" charset="-127"/>
                <a:ea typeface="Malgun Gothic" panose="020B0503020000020004" pitchFamily="50" charset="-127"/>
              </a:rPr>
              <a:t>A </a:t>
            </a:r>
            <a:r>
              <a:rPr lang="en-US" altLang="ko-KR" sz="1100" dirty="0">
                <a:latin typeface="Malgun Gothic" panose="020B0503020000020004" pitchFamily="50" charset="-127"/>
                <a:ea typeface="Malgun Gothic" panose="020B0503020000020004" pitchFamily="50" charset="-127"/>
              </a:rPr>
              <a:t>trace relationship can be defined during the creation or completion of requirements or traceable work products.</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When requirements or traceable work products change, it is reviewed whether the traceability needs to be adjusted due to the change and the traceability is reestablished.</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The structure and scope of trace management and trace management tool can be adjusted and used according to the characteristics of the project (</a:t>
            </a:r>
            <a:r>
              <a:rPr lang="en-US" altLang="ko-KR" sz="1100" dirty="0" err="1">
                <a:latin typeface="Malgun Gothic" panose="020B0503020000020004" pitchFamily="50" charset="-127"/>
                <a:ea typeface="Malgun Gothic" panose="020B0503020000020004" pitchFamily="50" charset="-127"/>
              </a:rPr>
              <a:t>e.g</a:t>
            </a:r>
            <a:r>
              <a:rPr lang="en-US" altLang="ko-KR" sz="1100" dirty="0">
                <a:latin typeface="Malgun Gothic" panose="020B0503020000020004" pitchFamily="50" charset="-127"/>
                <a:ea typeface="Malgun Gothic" panose="020B0503020000020004" pitchFamily="50" charset="-127"/>
              </a:rPr>
              <a:t>, development environment). </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 </a:t>
            </a:r>
          </a:p>
          <a:p>
            <a:pPr marL="0" indent="0"/>
            <a:r>
              <a:rPr lang="en-US" altLang="ko-KR" sz="1100" b="1" dirty="0" smtClean="0">
                <a:latin typeface="Malgun Gothic" panose="020B0503020000020004" pitchFamily="50" charset="-127"/>
                <a:ea typeface="Malgun Gothic" panose="020B0503020000020004" pitchFamily="50" charset="-127"/>
              </a:rPr>
              <a:t>6.2 Establish traceability </a:t>
            </a:r>
            <a:r>
              <a:rPr lang="en-US" altLang="ko-KR" sz="1100" b="1" dirty="0">
                <a:latin typeface="Malgun Gothic" panose="020B0503020000020004" pitchFamily="50" charset="-127"/>
                <a:ea typeface="Malgun Gothic" panose="020B0503020000020004" pitchFamily="50" charset="-127"/>
              </a:rPr>
              <a:t>(</a:t>
            </a:r>
            <a:r>
              <a:rPr lang="en-US" altLang="ko-KR" sz="1100" b="1" dirty="0" smtClean="0">
                <a:latin typeface="Malgun Gothic" panose="020B0503020000020004" pitchFamily="50" charset="-127"/>
                <a:ea typeface="Malgun Gothic" panose="020B0503020000020004" pitchFamily="50" charset="-127"/>
              </a:rPr>
              <a:t>SDD-SRS)</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SW Engineer establishes traceability between SW Source Code and SW Requirements Specification if necessary.</a:t>
            </a:r>
          </a:p>
        </p:txBody>
      </p:sp>
      <p:graphicFrame>
        <p:nvGraphicFramePr>
          <p:cNvPr id="2" name="표 1"/>
          <p:cNvGraphicFramePr>
            <a:graphicFrameLocks noGrp="1"/>
          </p:cNvGraphicFramePr>
          <p:nvPr>
            <p:extLst>
              <p:ext uri="{D42A27DB-BD31-4B8C-83A1-F6EECF244321}">
                <p14:modId xmlns:p14="http://schemas.microsoft.com/office/powerpoint/2010/main" val="785122206"/>
              </p:ext>
            </p:extLst>
          </p:nvPr>
        </p:nvGraphicFramePr>
        <p:xfrm>
          <a:off x="328613" y="908050"/>
          <a:ext cx="9172575" cy="1490837"/>
        </p:xfrm>
        <a:graphic>
          <a:graphicData uri="http://schemas.openxmlformats.org/drawingml/2006/table">
            <a:tbl>
              <a:tblPr/>
              <a:tblGrid>
                <a:gridCol w="3112219"/>
                <a:gridCol w="3002831"/>
                <a:gridCol w="3057525"/>
              </a:tblGrid>
              <a:tr h="259341">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86302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144000" marR="0" lvl="0" indent="0" algn="l" defTabSz="914400" rtl="0" eaLnBrk="1" fontAlgn="auto" latinLnBrk="1" hangingPunct="1">
                        <a:lnSpc>
                          <a:spcPct val="110000"/>
                        </a:lnSpc>
                        <a:spcBef>
                          <a:spcPct val="20000"/>
                        </a:spcBef>
                        <a:spcAft>
                          <a:spcPts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establishes traceability betwee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and</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Source code. </a:t>
                      </a:r>
                      <a:r>
                        <a:rPr lang="en-US" altLang="ko-KR" sz="1100" b="0" dirty="0" smtClean="0">
                          <a:latin typeface="Malgun Gothic" panose="020B0503020000020004" pitchFamily="50" charset="-127"/>
                          <a:ea typeface="Malgun Gothic" panose="020B0503020000020004" pitchFamily="50" charset="-127"/>
                          <a:cs typeface="Times New Roman" panose="02020603050405020304" pitchFamily="18" charset="0"/>
                        </a:rPr>
                        <a:t> </a:t>
                      </a:r>
                    </a:p>
                    <a:p>
                      <a:pPr marL="144000" eaLnBrk="1" latinLnBrk="1" hangingPunct="1">
                        <a:lnSpc>
                          <a:spcPct val="110000"/>
                        </a:lnSpc>
                        <a:defRPr/>
                      </a:pPr>
                      <a:r>
                        <a:rPr lang="en-US" altLang="ko-KR" sz="1100" b="0" dirty="0" smtClean="0">
                          <a:latin typeface="Malgun Gothic" panose="020B0503020000020004" pitchFamily="50" charset="-127"/>
                          <a:ea typeface="Malgun Gothic" panose="020B0503020000020004" pitchFamily="50" charset="-127"/>
                          <a:cs typeface="Times New Roman" panose="02020603050405020304" pitchFamily="18" charset="0"/>
                        </a:rPr>
                        <a:t>SW Engineer establishes traceability between SW Source Code</a:t>
                      </a:r>
                      <a:r>
                        <a:rPr lang="ko-KR" altLang="en-US" sz="1100" b="0" baseline="0" smtClean="0">
                          <a:latin typeface="Malgun Gothic" panose="020B0503020000020004" pitchFamily="50" charset="-127"/>
                          <a:ea typeface="Malgun Gothic" panose="020B0503020000020004" pitchFamily="50" charset="-127"/>
                          <a:cs typeface="Times New Roman" panose="02020603050405020304" pitchFamily="18" charset="0"/>
                        </a:rPr>
                        <a:t> </a:t>
                      </a:r>
                      <a:r>
                        <a:rPr lang="en-US" altLang="ko-KR" sz="1100" b="0" baseline="0" dirty="0" smtClean="0">
                          <a:latin typeface="Malgun Gothic" panose="020B0503020000020004" pitchFamily="50" charset="-127"/>
                          <a:ea typeface="Malgun Gothic" panose="020B0503020000020004" pitchFamily="50" charset="-127"/>
                          <a:cs typeface="Times New Roman" panose="02020603050405020304" pitchFamily="18" charset="0"/>
                        </a:rPr>
                        <a:t>and</a:t>
                      </a:r>
                      <a:r>
                        <a:rPr lang="ko-KR" altLang="en-US" sz="1100" b="0" smtClean="0">
                          <a:latin typeface="Malgun Gothic" panose="020B0503020000020004" pitchFamily="50" charset="-127"/>
                          <a:ea typeface="Malgun Gothic" panose="020B0503020000020004" pitchFamily="50" charset="-127"/>
                          <a:cs typeface="Times New Roman" panose="02020603050405020304" pitchFamily="18" charset="0"/>
                        </a:rPr>
                        <a:t> </a:t>
                      </a:r>
                      <a:r>
                        <a:rPr lang="en-US" altLang="ko-KR" sz="1100" b="0" dirty="0" smtClean="0">
                          <a:latin typeface="Malgun Gothic" panose="020B0503020000020004" pitchFamily="50" charset="-127"/>
                          <a:ea typeface="Malgun Gothic" panose="020B0503020000020004" pitchFamily="50" charset="-127"/>
                          <a:cs typeface="Times New Roman" panose="02020603050405020304" pitchFamily="18" charset="0"/>
                        </a:rPr>
                        <a:t>SW Requirements(If necessary).</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6.1 Establish traceability (SDD-Source code)</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6.2 Establish traceability (SDD-SRS) [SW Engineer]</a:t>
                      </a: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Source Code</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including traceability)</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If applicable)</a:t>
                      </a:r>
                    </a:p>
                    <a:p>
                      <a:pPr marL="0" marR="0" lvl="0" indent="0" algn="l" defTabSz="914400" rtl="0" eaLnBrk="1" fontAlgn="base" latinLnBrk="1" hangingPunct="1">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2" marB="4577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10</a:t>
            </a:fld>
            <a:endParaRPr lang="en-US" altLang="ko-K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7. </a:t>
            </a:r>
            <a:r>
              <a:rPr lang="en-US" altLang="ko-KR" dirty="0" smtClean="0">
                <a:solidFill>
                  <a:srgbClr val="000000"/>
                </a:solidFill>
                <a:latin typeface="Malgun Gothic" panose="020B0503020000020004" pitchFamily="50" charset="-127"/>
                <a:ea typeface="Malgun Gothic" panose="020B0503020000020004" pitchFamily="50" charset="-127"/>
              </a:rPr>
              <a:t>SW </a:t>
            </a:r>
            <a:r>
              <a:rPr lang="en-US" altLang="ko-KR" dirty="0">
                <a:solidFill>
                  <a:srgbClr val="000000"/>
                </a:solidFill>
                <a:latin typeface="Malgun Gothic" panose="020B0503020000020004" pitchFamily="50" charset="-127"/>
                <a:ea typeface="Malgun Gothic" panose="020B0503020000020004" pitchFamily="50" charset="-127"/>
              </a:rPr>
              <a:t>Code Quality Review</a:t>
            </a:r>
            <a:br>
              <a:rPr lang="en-US" altLang="ko-KR" dirty="0">
                <a:solidFill>
                  <a:srgbClr val="000000"/>
                </a:solidFill>
                <a:latin typeface="Malgun Gothic" panose="020B0503020000020004" pitchFamily="50" charset="-127"/>
                <a:ea typeface="Malgun Gothic" panose="020B0503020000020004" pitchFamily="50" charset="-127"/>
              </a:rPr>
            </a:b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2291"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kumimoji="0" lang="en-US" altLang="ko-KR" sz="1100" dirty="0" smtClean="0">
                <a:latin typeface="Malgun Gothic" panose="020B0503020000020004" pitchFamily="50" charset="-127"/>
                <a:ea typeface="Malgun Gothic" panose="020B0503020000020004" pitchFamily="50" charset="-127"/>
              </a:rPr>
              <a:t>Under the lead of </a:t>
            </a:r>
            <a:r>
              <a:rPr kumimoji="0" lang="en-US" altLang="ko-KR" sz="1100" dirty="0">
                <a:latin typeface="Malgun Gothic" panose="020B0503020000020004" pitchFamily="50" charset="-127"/>
                <a:ea typeface="Malgun Gothic" panose="020B0503020000020004" pitchFamily="50" charset="-127"/>
              </a:rPr>
              <a:t>SW Architect, SW Engineer performs SW code review, SW static verification, and SW MD activities for SW code quality review</a:t>
            </a:r>
            <a:r>
              <a:rPr kumimoji="0" lang="en-US" altLang="ko-KR" sz="1100" dirty="0" smtClean="0">
                <a:latin typeface="Malgun Gothic" panose="020B0503020000020004" pitchFamily="50" charset="-127"/>
                <a:ea typeface="Malgun Gothic" panose="020B0503020000020004" pitchFamily="50" charset="-127"/>
              </a:rPr>
              <a:t>.</a:t>
            </a:r>
          </a:p>
          <a:p>
            <a:pPr marL="0" indent="0"/>
            <a:endParaRPr kumimoji="0" lang="en-US" altLang="ko-KR" sz="1100" dirty="0">
              <a:latin typeface="Malgun Gothic" panose="020B0503020000020004" pitchFamily="50" charset="-127"/>
              <a:ea typeface="Malgun Gothic" panose="020B0503020000020004" pitchFamily="50" charset="-127"/>
            </a:endParaRPr>
          </a:p>
          <a:p>
            <a:pPr marL="0" indent="0"/>
            <a:r>
              <a:rPr kumimoji="0" lang="en-US" altLang="ko-KR" sz="1100" dirty="0" smtClean="0">
                <a:latin typeface="Malgun Gothic" panose="020B0503020000020004" pitchFamily="50" charset="-127"/>
                <a:ea typeface="Malgun Gothic" panose="020B0503020000020004" pitchFamily="50" charset="-127"/>
              </a:rPr>
              <a:t>7.1 </a:t>
            </a:r>
            <a:r>
              <a:rPr kumimoji="0" lang="en-US" altLang="ko-KR" sz="1100" dirty="0">
                <a:latin typeface="Malgun Gothic" panose="020B0503020000020004" pitchFamily="50" charset="-127"/>
                <a:ea typeface="Malgun Gothic" panose="020B0503020000020004" pitchFamily="50" charset="-127"/>
              </a:rPr>
              <a:t>SW Code </a:t>
            </a:r>
            <a:r>
              <a:rPr kumimoji="0" lang="en-US" altLang="ko-KR" sz="1100" dirty="0" smtClean="0">
                <a:latin typeface="Malgun Gothic" panose="020B0503020000020004" pitchFamily="50" charset="-127"/>
                <a:ea typeface="Malgun Gothic" panose="020B0503020000020004" pitchFamily="50" charset="-127"/>
              </a:rPr>
              <a:t>Review </a:t>
            </a:r>
          </a:p>
          <a:p>
            <a:pPr marL="171450" indent="-171450">
              <a:buFontTx/>
              <a:buChar char="-"/>
            </a:pPr>
            <a:r>
              <a:rPr kumimoji="0" lang="en-US" altLang="ko-KR" sz="1100" dirty="0" smtClean="0">
                <a:latin typeface="Malgun Gothic" panose="020B0503020000020004" pitchFamily="50" charset="-127"/>
                <a:ea typeface="Malgun Gothic" panose="020B0503020000020004" pitchFamily="50" charset="-127"/>
              </a:rPr>
              <a:t>[</a:t>
            </a:r>
            <a:r>
              <a:rPr kumimoji="0" lang="en-US" altLang="ko-KR" sz="1100" dirty="0">
                <a:latin typeface="Malgun Gothic" panose="020B0503020000020004" pitchFamily="50" charset="-127"/>
                <a:ea typeface="Malgun Gothic" panose="020B0503020000020004" pitchFamily="50" charset="-127"/>
              </a:rPr>
              <a:t>Prerequisites] </a:t>
            </a:r>
            <a:r>
              <a:rPr kumimoji="0" lang="en-US" altLang="ko-KR" sz="1100" dirty="0" smtClean="0">
                <a:latin typeface="Malgun Gothic" panose="020B0503020000020004" pitchFamily="50" charset="-127"/>
                <a:ea typeface="Malgun Gothic" panose="020B0503020000020004" pitchFamily="50" charset="-127"/>
              </a:rPr>
              <a:t>Project </a:t>
            </a:r>
            <a:r>
              <a:rPr kumimoji="0" lang="en-US" altLang="ko-KR" sz="1100" dirty="0">
                <a:latin typeface="Malgun Gothic" panose="020B0503020000020004" pitchFamily="50" charset="-127"/>
                <a:ea typeface="Malgun Gothic" panose="020B0503020000020004" pitchFamily="50" charset="-127"/>
              </a:rPr>
              <a:t>Repository must be allocated in </a:t>
            </a:r>
            <a:r>
              <a:rPr kumimoji="0" lang="en-US" altLang="ko-KR" sz="1100" dirty="0" err="1">
                <a:latin typeface="Malgun Gothic" panose="020B0503020000020004" pitchFamily="50" charset="-127"/>
                <a:ea typeface="Malgun Gothic" panose="020B0503020000020004" pitchFamily="50" charset="-127"/>
              </a:rPr>
              <a:t>Git</a:t>
            </a:r>
            <a:r>
              <a:rPr kumimoji="0" lang="en-US" altLang="ko-KR" sz="1100" dirty="0">
                <a:latin typeface="Malgun Gothic" panose="020B0503020000020004" pitchFamily="50" charset="-127"/>
                <a:ea typeface="Malgun Gothic" panose="020B0503020000020004" pitchFamily="50" charset="-127"/>
              </a:rPr>
              <a:t> Server</a:t>
            </a:r>
            <a:r>
              <a:rPr kumimoji="0" lang="en-US" altLang="ko-KR" sz="1100" dirty="0" smtClean="0">
                <a:latin typeface="Malgun Gothic" panose="020B0503020000020004" pitchFamily="50" charset="-127"/>
                <a:ea typeface="Malgun Gothic" panose="020B0503020000020004" pitchFamily="50" charset="-127"/>
              </a:rPr>
              <a:t>.</a:t>
            </a:r>
          </a:p>
          <a:p>
            <a:pPr marL="171450" indent="-171450">
              <a:buFontTx/>
              <a:buChar char="-"/>
            </a:pPr>
            <a:r>
              <a:rPr kumimoji="0" lang="en-US" altLang="ko-KR" sz="1100" dirty="0" smtClean="0">
                <a:latin typeface="Malgun Gothic" panose="020B0503020000020004" pitchFamily="50" charset="-127"/>
                <a:ea typeface="Malgun Gothic" panose="020B0503020000020004" pitchFamily="50" charset="-127"/>
              </a:rPr>
              <a:t>[</a:t>
            </a:r>
            <a:r>
              <a:rPr kumimoji="0" lang="en-US" altLang="ko-KR" sz="1100" dirty="0">
                <a:latin typeface="Malgun Gothic" panose="020B0503020000020004" pitchFamily="50" charset="-127"/>
                <a:ea typeface="Malgun Gothic" panose="020B0503020000020004" pitchFamily="50" charset="-127"/>
              </a:rPr>
              <a:t>Prerequisite] The execution environment must be established and the person in charge of review must be designated so that </a:t>
            </a:r>
            <a:r>
              <a:rPr kumimoji="0" lang="en-US" altLang="ko-KR" sz="1100" dirty="0" err="1">
                <a:latin typeface="Malgun Gothic" panose="020B0503020000020004" pitchFamily="50" charset="-127"/>
                <a:ea typeface="Malgun Gothic" panose="020B0503020000020004" pitchFamily="50" charset="-127"/>
              </a:rPr>
              <a:t>Gerrit</a:t>
            </a:r>
            <a:r>
              <a:rPr kumimoji="0" lang="en-US" altLang="ko-KR" sz="1100" dirty="0">
                <a:latin typeface="Malgun Gothic" panose="020B0503020000020004" pitchFamily="50" charset="-127"/>
                <a:ea typeface="Malgun Gothic" panose="020B0503020000020004" pitchFamily="50" charset="-127"/>
              </a:rPr>
              <a:t> is performed to reflect the SW code in the </a:t>
            </a:r>
            <a:r>
              <a:rPr kumimoji="0" lang="en-US" altLang="ko-KR" sz="1100" dirty="0" err="1">
                <a:latin typeface="Malgun Gothic" panose="020B0503020000020004" pitchFamily="50" charset="-127"/>
                <a:ea typeface="Malgun Gothic" panose="020B0503020000020004" pitchFamily="50" charset="-127"/>
              </a:rPr>
              <a:t>Git</a:t>
            </a:r>
            <a:r>
              <a:rPr kumimoji="0" lang="en-US" altLang="ko-KR" sz="1100" dirty="0">
                <a:latin typeface="Malgun Gothic" panose="020B0503020000020004" pitchFamily="50" charset="-127"/>
                <a:ea typeface="Malgun Gothic" panose="020B0503020000020004" pitchFamily="50" charset="-127"/>
              </a:rPr>
              <a:t> Server</a:t>
            </a:r>
            <a:r>
              <a:rPr kumimoji="0" lang="en-US" altLang="ko-KR" sz="1100" dirty="0" smtClean="0">
                <a:latin typeface="Malgun Gothic" panose="020B0503020000020004" pitchFamily="50" charset="-127"/>
                <a:ea typeface="Malgun Gothic" panose="020B0503020000020004" pitchFamily="50" charset="-127"/>
              </a:rPr>
              <a:t>.</a:t>
            </a:r>
          </a:p>
          <a:p>
            <a:pPr marL="171450" indent="-171450">
              <a:buFontTx/>
              <a:buChar char="-"/>
            </a:pPr>
            <a:r>
              <a:rPr kumimoji="0" lang="en-US" altLang="ko-KR" sz="1100" dirty="0" smtClean="0">
                <a:latin typeface="Malgun Gothic" panose="020B0503020000020004" pitchFamily="50" charset="-127"/>
                <a:ea typeface="Malgun Gothic" panose="020B0503020000020004" pitchFamily="50" charset="-127"/>
              </a:rPr>
              <a:t>SW </a:t>
            </a:r>
            <a:r>
              <a:rPr kumimoji="0" lang="en-US" altLang="ko-KR" sz="1100" dirty="0">
                <a:latin typeface="Malgun Gothic" panose="020B0503020000020004" pitchFamily="50" charset="-127"/>
                <a:ea typeface="Malgun Gothic" panose="020B0503020000020004" pitchFamily="50" charset="-127"/>
              </a:rPr>
              <a:t>Engineer requests to reflect the developed SW code in </a:t>
            </a:r>
            <a:r>
              <a:rPr kumimoji="0" lang="en-US" altLang="ko-KR" sz="1100" dirty="0" err="1">
                <a:latin typeface="Malgun Gothic" panose="020B0503020000020004" pitchFamily="50" charset="-127"/>
                <a:ea typeface="Malgun Gothic" panose="020B0503020000020004" pitchFamily="50" charset="-127"/>
              </a:rPr>
              <a:t>Git</a:t>
            </a:r>
            <a:r>
              <a:rPr kumimoji="0" lang="en-US" altLang="ko-KR" sz="1100" dirty="0">
                <a:latin typeface="Malgun Gothic" panose="020B0503020000020004" pitchFamily="50" charset="-127"/>
                <a:ea typeface="Malgun Gothic" panose="020B0503020000020004" pitchFamily="50" charset="-127"/>
              </a:rPr>
              <a:t> Server</a:t>
            </a:r>
            <a:r>
              <a:rPr kumimoji="0" lang="en-US" altLang="ko-KR" sz="1100" dirty="0" smtClean="0">
                <a:latin typeface="Malgun Gothic" panose="020B0503020000020004" pitchFamily="50" charset="-127"/>
                <a:ea typeface="Malgun Gothic" panose="020B0503020000020004" pitchFamily="50" charset="-127"/>
              </a:rPr>
              <a:t>.</a:t>
            </a:r>
          </a:p>
          <a:p>
            <a:pPr marL="171450" indent="-171450">
              <a:buFontTx/>
              <a:buChar char="-"/>
            </a:pPr>
            <a:r>
              <a:rPr kumimoji="0" lang="en-US" altLang="ko-KR" sz="1100" dirty="0" err="1" smtClean="0">
                <a:latin typeface="Malgun Gothic" panose="020B0503020000020004" pitchFamily="50" charset="-127"/>
                <a:ea typeface="Malgun Gothic" panose="020B0503020000020004" pitchFamily="50" charset="-127"/>
              </a:rPr>
              <a:t>Git</a:t>
            </a:r>
            <a:r>
              <a:rPr kumimoji="0" lang="en-US" altLang="ko-KR" sz="1100" dirty="0" smtClean="0">
                <a:latin typeface="Malgun Gothic" panose="020B0503020000020004" pitchFamily="50" charset="-127"/>
                <a:ea typeface="Malgun Gothic" panose="020B0503020000020004" pitchFamily="50" charset="-127"/>
              </a:rPr>
              <a:t> </a:t>
            </a:r>
            <a:r>
              <a:rPr kumimoji="0" lang="en-US" altLang="ko-KR" sz="1100" dirty="0">
                <a:latin typeface="Malgun Gothic" panose="020B0503020000020004" pitchFamily="50" charset="-127"/>
                <a:ea typeface="Malgun Gothic" panose="020B0503020000020004" pitchFamily="50" charset="-127"/>
              </a:rPr>
              <a:t>Server automatically executes </a:t>
            </a:r>
            <a:r>
              <a:rPr kumimoji="0" lang="en-US" altLang="ko-KR" sz="1100" dirty="0" err="1">
                <a:latin typeface="Malgun Gothic" panose="020B0503020000020004" pitchFamily="50" charset="-127"/>
                <a:ea typeface="Malgun Gothic" panose="020B0503020000020004" pitchFamily="50" charset="-127"/>
              </a:rPr>
              <a:t>Gerrit</a:t>
            </a:r>
            <a:r>
              <a:rPr kumimoji="0" lang="en-US" altLang="ko-KR" sz="1100" dirty="0">
                <a:latin typeface="Malgun Gothic" panose="020B0503020000020004" pitchFamily="50" charset="-127"/>
                <a:ea typeface="Malgun Gothic" panose="020B0503020000020004" pitchFamily="50" charset="-127"/>
              </a:rPr>
              <a:t> for SW code reflection, and the result is delivered to the person in charge of review (SW Architect</a:t>
            </a:r>
            <a:r>
              <a:rPr kumimoji="0" lang="en-US" altLang="ko-KR" sz="1100" dirty="0" smtClean="0">
                <a:latin typeface="Malgun Gothic" panose="020B0503020000020004" pitchFamily="50" charset="-127"/>
                <a:ea typeface="Malgun Gothic" panose="020B0503020000020004" pitchFamily="50" charset="-127"/>
              </a:rPr>
              <a:t>).</a:t>
            </a:r>
          </a:p>
          <a:p>
            <a:pPr marL="171450" indent="-171450">
              <a:buFontTx/>
              <a:buChar char="-"/>
            </a:pPr>
            <a:r>
              <a:rPr kumimoji="0" lang="en-US" altLang="ko-KR" sz="1100" dirty="0" smtClean="0">
                <a:latin typeface="Malgun Gothic" panose="020B0503020000020004" pitchFamily="50" charset="-127"/>
                <a:ea typeface="Malgun Gothic" panose="020B0503020000020004" pitchFamily="50" charset="-127"/>
              </a:rPr>
              <a:t>The </a:t>
            </a:r>
            <a:r>
              <a:rPr kumimoji="0" lang="en-US" altLang="ko-KR" sz="1100" dirty="0">
                <a:latin typeface="Malgun Gothic" panose="020B0503020000020004" pitchFamily="50" charset="-127"/>
                <a:ea typeface="Malgun Gothic" panose="020B0503020000020004" pitchFamily="50" charset="-127"/>
              </a:rPr>
              <a:t>person in charge of review (SW Architect) checks the result of </a:t>
            </a:r>
            <a:r>
              <a:rPr kumimoji="0" lang="en-US" altLang="ko-KR" sz="1100" dirty="0" err="1">
                <a:latin typeface="Malgun Gothic" panose="020B0503020000020004" pitchFamily="50" charset="-127"/>
                <a:ea typeface="Malgun Gothic" panose="020B0503020000020004" pitchFamily="50" charset="-127"/>
              </a:rPr>
              <a:t>Gerrit</a:t>
            </a:r>
            <a:r>
              <a:rPr kumimoji="0" lang="en-US" altLang="ko-KR" sz="1100" dirty="0">
                <a:latin typeface="Malgun Gothic" panose="020B0503020000020004" pitchFamily="50" charset="-127"/>
                <a:ea typeface="Malgun Gothic" panose="020B0503020000020004" pitchFamily="50" charset="-127"/>
              </a:rPr>
              <a:t> execution and, if there are no problems, performs SW code review to determine whether or not to reflect </a:t>
            </a:r>
            <a:r>
              <a:rPr kumimoji="0" lang="en-US" altLang="ko-KR" sz="1100" dirty="0" err="1">
                <a:latin typeface="Malgun Gothic" panose="020B0503020000020004" pitchFamily="50" charset="-127"/>
                <a:ea typeface="Malgun Gothic" panose="020B0503020000020004" pitchFamily="50" charset="-127"/>
              </a:rPr>
              <a:t>Git</a:t>
            </a:r>
            <a:r>
              <a:rPr kumimoji="0" lang="en-US" altLang="ko-KR" sz="1100" dirty="0">
                <a:latin typeface="Malgun Gothic" panose="020B0503020000020004" pitchFamily="50" charset="-127"/>
                <a:ea typeface="Malgun Gothic" panose="020B0503020000020004" pitchFamily="50" charset="-127"/>
              </a:rPr>
              <a:t> of SW code</a:t>
            </a:r>
            <a:r>
              <a:rPr kumimoji="0" lang="en-US" altLang="ko-KR" sz="1100" dirty="0" smtClean="0">
                <a:latin typeface="Malgun Gothic" panose="020B0503020000020004" pitchFamily="50" charset="-127"/>
                <a:ea typeface="Malgun Gothic" panose="020B0503020000020004" pitchFamily="50" charset="-127"/>
              </a:rPr>
              <a:t>.</a:t>
            </a:r>
          </a:p>
          <a:p>
            <a:pPr marL="171450" indent="-171450">
              <a:buFontTx/>
              <a:buChar char="-"/>
            </a:pPr>
            <a:r>
              <a:rPr kumimoji="0" lang="en-US" altLang="ko-KR" sz="1100" dirty="0" smtClean="0">
                <a:latin typeface="Malgun Gothic" panose="020B0503020000020004" pitchFamily="50" charset="-127"/>
                <a:ea typeface="Malgun Gothic" panose="020B0503020000020004" pitchFamily="50" charset="-127"/>
              </a:rPr>
              <a:t>If </a:t>
            </a:r>
            <a:r>
              <a:rPr kumimoji="0" lang="en-US" altLang="ko-KR" sz="1100" dirty="0">
                <a:latin typeface="Malgun Gothic" panose="020B0503020000020004" pitchFamily="50" charset="-127"/>
                <a:ea typeface="Malgun Gothic" panose="020B0503020000020004" pitchFamily="50" charset="-127"/>
              </a:rPr>
              <a:t>the result of the </a:t>
            </a:r>
            <a:r>
              <a:rPr kumimoji="0" lang="en-US" altLang="ko-KR" sz="1100" dirty="0" err="1">
                <a:latin typeface="Malgun Gothic" panose="020B0503020000020004" pitchFamily="50" charset="-127"/>
                <a:ea typeface="Malgun Gothic" panose="020B0503020000020004" pitchFamily="50" charset="-127"/>
              </a:rPr>
              <a:t>Gerrit</a:t>
            </a:r>
            <a:r>
              <a:rPr kumimoji="0" lang="en-US" altLang="ko-KR" sz="1100" dirty="0">
                <a:latin typeface="Malgun Gothic" panose="020B0503020000020004" pitchFamily="50" charset="-127"/>
                <a:ea typeface="Malgun Gothic" panose="020B0503020000020004" pitchFamily="50" charset="-127"/>
              </a:rPr>
              <a:t> </a:t>
            </a:r>
            <a:r>
              <a:rPr kumimoji="0" lang="en-US" altLang="ko-KR" sz="1100" dirty="0" smtClean="0">
                <a:latin typeface="Malgun Gothic" panose="020B0503020000020004" pitchFamily="50" charset="-127"/>
                <a:ea typeface="Malgun Gothic" panose="020B0503020000020004" pitchFamily="50" charset="-127"/>
              </a:rPr>
              <a:t>execution </a:t>
            </a:r>
            <a:r>
              <a:rPr kumimoji="0" lang="en-US" altLang="ko-KR" sz="1100" dirty="0">
                <a:latin typeface="Malgun Gothic" panose="020B0503020000020004" pitchFamily="50" charset="-127"/>
                <a:ea typeface="Malgun Gothic" panose="020B0503020000020004" pitchFamily="50" charset="-127"/>
              </a:rPr>
              <a:t>and the code review by the review person (SW Architect) do not meet the pass criteria, the code reflection must be requested again after modifying the SW code</a:t>
            </a:r>
            <a:r>
              <a:rPr kumimoji="0" lang="en-US" altLang="ko-KR" sz="1100" dirty="0" smtClean="0">
                <a:latin typeface="Malgun Gothic" panose="020B0503020000020004" pitchFamily="50" charset="-127"/>
                <a:ea typeface="Malgun Gothic" panose="020B0503020000020004" pitchFamily="50" charset="-127"/>
              </a:rPr>
              <a:t>.</a:t>
            </a:r>
          </a:p>
          <a:p>
            <a:pPr marL="0" indent="0"/>
            <a:endParaRPr kumimoji="0" lang="en-US" altLang="ko-KR" sz="1100" dirty="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1582688798"/>
              </p:ext>
            </p:extLst>
          </p:nvPr>
        </p:nvGraphicFramePr>
        <p:xfrm>
          <a:off x="328613" y="908050"/>
          <a:ext cx="9172575" cy="1021293"/>
        </p:xfrm>
        <a:graphic>
          <a:graphicData uri="http://schemas.openxmlformats.org/drawingml/2006/table">
            <a:tbl>
              <a:tblPr/>
              <a:tblGrid>
                <a:gridCol w="3057525"/>
                <a:gridCol w="3057525"/>
                <a:gridCol w="3057525"/>
              </a:tblGrid>
              <a:tr h="25922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61230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 together with the SW Engineer, performs SW code quality review for the implemented SW Source Code.</a:t>
                      </a: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7.1 SW Code Review[SW Architec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7.2 </a:t>
                      </a:r>
                      <a:r>
                        <a:rPr kumimoji="0" lang="en-US" altLang="ko-KR" sz="1100" dirty="0" smtClean="0">
                          <a:latin typeface="Malgun Gothic" panose="020B0503020000020004" pitchFamily="50" charset="-127"/>
                          <a:ea typeface="Malgun Gothic" panose="020B0503020000020004" pitchFamily="50" charset="-127"/>
                        </a:rPr>
                        <a:t>SW Static Verification</a:t>
                      </a:r>
                      <a:r>
                        <a:rPr kumimoji="0" lang="ko-KR" altLang="en-US" sz="1100" smtClean="0">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7.3 </a:t>
                      </a:r>
                      <a:r>
                        <a:rPr kumimoji="0" lang="en-US" altLang="ko-KR" sz="1100" dirty="0" smtClean="0">
                          <a:latin typeface="Malgun Gothic" panose="020B0503020000020004" pitchFamily="50" charset="-127"/>
                          <a:ea typeface="Malgun Gothic" panose="020B0503020000020004" pitchFamily="50" charset="-127"/>
                        </a:rPr>
                        <a:t>SW MD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lang="en-US" altLang="ko-KR" sz="1100" kern="0" dirty="0" err="1" smtClean="0">
                          <a:solidFill>
                            <a:srgbClr val="000000"/>
                          </a:solidFill>
                          <a:latin typeface="맑은 고딕" pitchFamily="50" charset="-127"/>
                          <a:ea typeface="맑은 고딕" pitchFamily="50" charset="-127"/>
                        </a:rPr>
                        <a:t>Gerrit</a:t>
                      </a:r>
                      <a:r>
                        <a:rPr lang="en-US" altLang="ko-KR" sz="1100" kern="0" dirty="0" smtClean="0">
                          <a:solidFill>
                            <a:srgbClr val="000000"/>
                          </a:solidFill>
                          <a:latin typeface="맑은 고딕" pitchFamily="50" charset="-127"/>
                          <a:ea typeface="맑은 고딕" pitchFamily="50" charset="-127"/>
                        </a:rPr>
                        <a:t> Execution Result (with</a:t>
                      </a:r>
                      <a:r>
                        <a:rPr lang="en-US" altLang="ko-KR" sz="1100" kern="0" baseline="0" dirty="0" smtClean="0">
                          <a:solidFill>
                            <a:srgbClr val="000000"/>
                          </a:solidFill>
                          <a:latin typeface="맑은 고딕" pitchFamily="50" charset="-127"/>
                          <a:ea typeface="맑은 고딕" pitchFamily="50" charset="-127"/>
                        </a:rPr>
                        <a:t> code review repor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kern="0" cap="none" normalizeH="0" baseline="0" dirty="0" smtClean="0">
                          <a:ln>
                            <a:noFill/>
                          </a:ln>
                          <a:solidFill>
                            <a:srgbClr val="000000"/>
                          </a:solidFill>
                          <a:effectLst/>
                          <a:latin typeface="맑은 고딕" pitchFamily="50" charset="-127"/>
                          <a:ea typeface="맑은 고딕" pitchFamily="50" charset="-127"/>
                        </a:rPr>
                        <a:t>Static Verification Result (</a:t>
                      </a:r>
                      <a:r>
                        <a:rPr kumimoji="0" lang="en-US" altLang="ko-KR" sz="1100" b="0" i="0" u="none" strike="noStrike" kern="0" cap="none" normalizeH="0" baseline="0" dirty="0" err="1" smtClean="0">
                          <a:ln>
                            <a:noFill/>
                          </a:ln>
                          <a:solidFill>
                            <a:srgbClr val="000000"/>
                          </a:solidFill>
                          <a:effectLst/>
                          <a:latin typeface="맑은 고딕" pitchFamily="50" charset="-127"/>
                          <a:ea typeface="맑은 고딕" pitchFamily="50" charset="-127"/>
                        </a:rPr>
                        <a:t>Coverity</a:t>
                      </a:r>
                      <a:r>
                        <a:rPr kumimoji="0" lang="en-US" altLang="ko-KR" sz="1100" b="0" i="0" u="none" strike="noStrike" kern="0" cap="none" normalizeH="0" baseline="0" dirty="0" smtClean="0">
                          <a:ln>
                            <a:noFill/>
                          </a:ln>
                          <a:solidFill>
                            <a:srgbClr val="000000"/>
                          </a:solidFill>
                          <a:effectLst/>
                          <a:latin typeface="맑은 고딕" pitchFamily="50" charset="-127"/>
                          <a:ea typeface="맑은 고딕" pitchFamily="50" charset="-127"/>
                        </a:rPr>
                        <a:t>)</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kern="0" cap="none" normalizeH="0" baseline="0" dirty="0" smtClean="0">
                          <a:ln>
                            <a:noFill/>
                          </a:ln>
                          <a:solidFill>
                            <a:srgbClr val="000000"/>
                          </a:solidFill>
                          <a:effectLst/>
                          <a:latin typeface="맑은 고딕" pitchFamily="50" charset="-127"/>
                          <a:ea typeface="맑은 고딕" pitchFamily="50" charset="-127"/>
                        </a:rPr>
                        <a:t>SW MD Result (SWMD)</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52" marB="4575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11</a:t>
            </a:fld>
            <a:endParaRPr lang="en-US" altLang="ko-KR"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7. </a:t>
            </a:r>
            <a:r>
              <a:rPr lang="en-US" altLang="ko-KR" dirty="0">
                <a:solidFill>
                  <a:srgbClr val="000000"/>
                </a:solidFill>
                <a:latin typeface="Malgun Gothic" panose="020B0503020000020004" pitchFamily="50" charset="-127"/>
                <a:ea typeface="Malgun Gothic" panose="020B0503020000020004" pitchFamily="50" charset="-127"/>
              </a:rPr>
              <a:t>SW Code Quality Review </a:t>
            </a:r>
            <a:r>
              <a:rPr lang="en-US" altLang="ko-KR" dirty="0" smtClean="0">
                <a:solidFill>
                  <a:srgbClr val="000000"/>
                </a:solidFill>
                <a:latin typeface="Malgun Gothic" panose="020B0503020000020004" pitchFamily="50" charset="-127"/>
                <a:ea typeface="Malgun Gothic" panose="020B0503020000020004" pitchFamily="50" charset="-127"/>
              </a:rPr>
              <a:t>(cont.)</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3315" name="텍스트 개체 틀 2"/>
          <p:cNvSpPr>
            <a:spLocks noGrp="1"/>
          </p:cNvSpPr>
          <p:nvPr>
            <p:ph type="body" sz="quarter" idx="10"/>
          </p:nvPr>
        </p:nvSpPr>
        <p:spPr bwMode="auto">
          <a:xfrm>
            <a:off x="200025" y="692150"/>
            <a:ext cx="9217025" cy="54006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endParaRPr lang="en-US" altLang="ko-KR" sz="1100" b="1"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7.2 </a:t>
            </a:r>
            <a:r>
              <a:rPr lang="en-US" altLang="ko-KR" sz="1100" b="1" dirty="0">
                <a:latin typeface="Malgun Gothic" panose="020B0503020000020004" pitchFamily="50" charset="-127"/>
                <a:ea typeface="Malgun Gothic" panose="020B0503020000020004" pitchFamily="50" charset="-127"/>
              </a:rPr>
              <a:t>SW </a:t>
            </a:r>
            <a:r>
              <a:rPr lang="en-US" altLang="ko-KR" sz="1100" b="1" dirty="0" smtClean="0">
                <a:latin typeface="Malgun Gothic" panose="020B0503020000020004" pitchFamily="50" charset="-127"/>
                <a:ea typeface="Malgun Gothic" panose="020B0503020000020004" pitchFamily="50" charset="-127"/>
              </a:rPr>
              <a:t>Static Verification</a:t>
            </a:r>
          </a:p>
          <a:p>
            <a:pPr marL="442913" lvl="2" indent="-171450">
              <a:buFontTx/>
              <a:buChar char="-"/>
              <a:defRPr/>
            </a:pPr>
            <a:endParaRPr lang="en-US" altLang="ko-KR" sz="1100" dirty="0" smtClean="0">
              <a:solidFill>
                <a:srgbClr val="000000"/>
              </a:solidFill>
            </a:endParaRPr>
          </a:p>
          <a:p>
            <a:pPr marL="442913" lvl="2" indent="-171450">
              <a:buFontTx/>
              <a:buChar char="-"/>
              <a:defRPr/>
            </a:pPr>
            <a:r>
              <a:rPr lang="en-US" altLang="ko-KR" sz="1100" dirty="0" smtClean="0">
                <a:solidFill>
                  <a:srgbClr val="000000"/>
                </a:solidFill>
              </a:rPr>
              <a:t>[</a:t>
            </a:r>
            <a:r>
              <a:rPr lang="en-US" altLang="ko-KR" sz="1100" dirty="0">
                <a:solidFill>
                  <a:srgbClr val="000000"/>
                </a:solidFill>
              </a:rPr>
              <a:t>Prerequisite] After completing SW code review, the code must be registered in </a:t>
            </a:r>
            <a:r>
              <a:rPr lang="en-US" altLang="ko-KR" sz="1100" dirty="0" err="1">
                <a:solidFill>
                  <a:srgbClr val="000000"/>
                </a:solidFill>
              </a:rPr>
              <a:t>Git</a:t>
            </a:r>
            <a:r>
              <a:rPr lang="en-US" altLang="ko-KR" sz="1100" dirty="0">
                <a:solidFill>
                  <a:srgbClr val="000000"/>
                </a:solidFill>
              </a:rPr>
              <a:t> Server</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a:t>
            </a:r>
            <a:r>
              <a:rPr lang="en-US" altLang="ko-KR" sz="1100" dirty="0">
                <a:solidFill>
                  <a:srgbClr val="000000"/>
                </a:solidFill>
              </a:rPr>
              <a:t>Prerequisites] The static verification execution environment of the project must be established by requesting SW static verification to the person in charge of SW static verification (SW Analyst</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According </a:t>
            </a:r>
            <a:r>
              <a:rPr lang="en-US" altLang="ko-KR" sz="1100" dirty="0">
                <a:solidFill>
                  <a:srgbClr val="000000"/>
                </a:solidFill>
              </a:rPr>
              <a:t>to the static verification execution cycle, static verification is automatically performed and the result is registered in the system</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SW </a:t>
            </a:r>
            <a:r>
              <a:rPr lang="en-US" altLang="ko-KR" sz="1100" dirty="0">
                <a:solidFill>
                  <a:srgbClr val="000000"/>
                </a:solidFill>
              </a:rPr>
              <a:t>Architect reviews SW static verification results with SW Engineer at Project Weekly Meeting</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SW </a:t>
            </a:r>
            <a:r>
              <a:rPr lang="en-US" altLang="ko-KR" sz="1100" dirty="0">
                <a:solidFill>
                  <a:srgbClr val="000000"/>
                </a:solidFill>
              </a:rPr>
              <a:t>Architect assigns SW Engineer to </a:t>
            </a:r>
            <a:r>
              <a:rPr lang="en-US" altLang="ko-KR" sz="1100" dirty="0" smtClean="0">
                <a:solidFill>
                  <a:srgbClr val="000000"/>
                </a:solidFill>
              </a:rPr>
              <a:t>resolve </a:t>
            </a:r>
            <a:r>
              <a:rPr lang="en-US" altLang="ko-KR" sz="1100" dirty="0">
                <a:solidFill>
                  <a:srgbClr val="000000"/>
                </a:solidFill>
              </a:rPr>
              <a:t>static verification result issue (bug) in SW static verification system</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The </a:t>
            </a:r>
            <a:r>
              <a:rPr lang="en-US" altLang="ko-KR" sz="1100" dirty="0">
                <a:solidFill>
                  <a:srgbClr val="000000"/>
                </a:solidFill>
              </a:rPr>
              <a:t>assigned SW Engineer establishes a </a:t>
            </a:r>
            <a:r>
              <a:rPr lang="en-US" altLang="ko-KR" sz="1100" dirty="0" smtClean="0">
                <a:solidFill>
                  <a:srgbClr val="000000"/>
                </a:solidFill>
              </a:rPr>
              <a:t>resolve </a:t>
            </a:r>
            <a:r>
              <a:rPr lang="en-US" altLang="ko-KR" sz="1100" dirty="0">
                <a:solidFill>
                  <a:srgbClr val="000000"/>
                </a:solidFill>
              </a:rPr>
              <a:t>plan for issues (bugs) and registers them in the system</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The </a:t>
            </a:r>
            <a:r>
              <a:rPr lang="en-US" altLang="ko-KR" sz="1100" dirty="0">
                <a:solidFill>
                  <a:srgbClr val="000000"/>
                </a:solidFill>
              </a:rPr>
              <a:t>assigned SW Engineer modifies the SW code according to the processing plan and reflects it on the </a:t>
            </a:r>
            <a:r>
              <a:rPr lang="en-US" altLang="ko-KR" sz="1100" dirty="0" err="1">
                <a:solidFill>
                  <a:srgbClr val="000000"/>
                </a:solidFill>
              </a:rPr>
              <a:t>Git</a:t>
            </a:r>
            <a:r>
              <a:rPr lang="en-US" altLang="ko-KR" sz="1100" dirty="0">
                <a:solidFill>
                  <a:srgbClr val="000000"/>
                </a:solidFill>
              </a:rPr>
              <a:t> </a:t>
            </a:r>
            <a:r>
              <a:rPr lang="en-US" altLang="ko-KR" sz="1100" dirty="0" smtClean="0">
                <a:solidFill>
                  <a:srgbClr val="000000"/>
                </a:solidFill>
              </a:rPr>
              <a:t>Server.</a:t>
            </a:r>
            <a:endParaRPr lang="en-US" altLang="ko-KR" sz="1100" dirty="0">
              <a:solidFill>
                <a:srgbClr val="000000"/>
              </a:solidFill>
            </a:endParaRPr>
          </a:p>
          <a:p>
            <a:pPr marL="442913" lvl="2" indent="-171450">
              <a:buFontTx/>
              <a:buChar char="-"/>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a:latin typeface="Malgun Gothic" panose="020B0503020000020004" pitchFamily="50" charset="-127"/>
                <a:ea typeface="Malgun Gothic" panose="020B0503020000020004" pitchFamily="50" charset="-127"/>
              </a:rPr>
              <a:t>7</a:t>
            </a:r>
            <a:r>
              <a:rPr lang="en-US" altLang="ko-KR" sz="1100" b="1" dirty="0" smtClean="0">
                <a:latin typeface="Malgun Gothic" panose="020B0503020000020004" pitchFamily="50" charset="-127"/>
                <a:ea typeface="Malgun Gothic" panose="020B0503020000020004" pitchFamily="50" charset="-127"/>
              </a:rPr>
              <a:t>.3 SW MD</a:t>
            </a:r>
            <a:r>
              <a:rPr lang="ko-KR" altLang="en-US" sz="1100" b="1" smtClean="0">
                <a:latin typeface="Malgun Gothic" panose="020B0503020000020004" pitchFamily="50" charset="-127"/>
                <a:ea typeface="Malgun Gothic" panose="020B0503020000020004" pitchFamily="50" charset="-127"/>
              </a:rPr>
              <a:t> </a:t>
            </a:r>
            <a:endParaRPr lang="en-US" altLang="ko-KR" sz="1100" b="1" dirty="0" smtClean="0">
              <a:latin typeface="Malgun Gothic" panose="020B0503020000020004" pitchFamily="50" charset="-127"/>
              <a:ea typeface="Malgun Gothic" panose="020B0503020000020004" pitchFamily="50" charset="-127"/>
            </a:endParaRPr>
          </a:p>
          <a:p>
            <a:pPr marL="442913" lvl="2" indent="-171450">
              <a:buFontTx/>
              <a:buChar char="-"/>
              <a:defRPr/>
            </a:pPr>
            <a:r>
              <a:rPr lang="en-US" altLang="ko-KR" sz="1100" dirty="0" smtClean="0">
                <a:solidFill>
                  <a:srgbClr val="000000"/>
                </a:solidFill>
              </a:rPr>
              <a:t>[Prerequisite</a:t>
            </a:r>
            <a:r>
              <a:rPr lang="en-US" altLang="ko-KR" sz="1100" dirty="0">
                <a:solidFill>
                  <a:srgbClr val="000000"/>
                </a:solidFill>
              </a:rPr>
              <a:t>] After completing SW code review, the code must be registered in </a:t>
            </a:r>
            <a:r>
              <a:rPr lang="en-US" altLang="ko-KR" sz="1100" dirty="0" err="1">
                <a:solidFill>
                  <a:srgbClr val="000000"/>
                </a:solidFill>
              </a:rPr>
              <a:t>Git</a:t>
            </a:r>
            <a:r>
              <a:rPr lang="en-US" altLang="ko-KR" sz="1100" dirty="0">
                <a:solidFill>
                  <a:srgbClr val="000000"/>
                </a:solidFill>
              </a:rPr>
              <a:t> Server</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According </a:t>
            </a:r>
            <a:r>
              <a:rPr lang="en-US" altLang="ko-KR" sz="1100" dirty="0">
                <a:solidFill>
                  <a:srgbClr val="000000"/>
                </a:solidFill>
              </a:rPr>
              <a:t>to the SW MD measurement cycle, the measurement data defined from the SW code is automatically measured and the result is registered in the system</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SW </a:t>
            </a:r>
            <a:r>
              <a:rPr lang="en-US" altLang="ko-KR" sz="1100" dirty="0">
                <a:solidFill>
                  <a:srgbClr val="000000"/>
                </a:solidFill>
              </a:rPr>
              <a:t>Architect reviews SW MD results with SW Engineer at Project Weekly Meeting</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SW </a:t>
            </a:r>
            <a:r>
              <a:rPr lang="en-US" altLang="ko-KR" sz="1100" dirty="0">
                <a:solidFill>
                  <a:srgbClr val="000000"/>
                </a:solidFill>
              </a:rPr>
              <a:t>Architect assigns SW Engineer to </a:t>
            </a:r>
            <a:r>
              <a:rPr lang="en-US" altLang="ko-KR" sz="1100" dirty="0" smtClean="0">
                <a:solidFill>
                  <a:srgbClr val="000000"/>
                </a:solidFill>
              </a:rPr>
              <a:t>improve the </a:t>
            </a:r>
            <a:r>
              <a:rPr lang="en-US" altLang="ko-KR" sz="1100" dirty="0">
                <a:solidFill>
                  <a:srgbClr val="000000"/>
                </a:solidFill>
              </a:rPr>
              <a:t>items that do not meet MD </a:t>
            </a:r>
            <a:r>
              <a:rPr lang="en-US" altLang="ko-KR" sz="1100" dirty="0" smtClean="0">
                <a:solidFill>
                  <a:srgbClr val="000000"/>
                </a:solidFill>
              </a:rPr>
              <a:t>criteria.</a:t>
            </a:r>
          </a:p>
          <a:p>
            <a:pPr marL="442913" lvl="2" indent="-171450">
              <a:buFontTx/>
              <a:buChar char="-"/>
              <a:defRPr/>
            </a:pPr>
            <a:r>
              <a:rPr lang="en-US" altLang="ko-KR" sz="1100" dirty="0" smtClean="0">
                <a:solidFill>
                  <a:srgbClr val="000000"/>
                </a:solidFill>
              </a:rPr>
              <a:t>The </a:t>
            </a:r>
            <a:r>
              <a:rPr lang="en-US" altLang="ko-KR" sz="1100" dirty="0">
                <a:solidFill>
                  <a:srgbClr val="000000"/>
                </a:solidFill>
              </a:rPr>
              <a:t>assigned SW Engineer establishes a SW design or SW code improvement plan to satisfy </a:t>
            </a:r>
            <a:r>
              <a:rPr lang="en-US" altLang="ko-KR" sz="1100" dirty="0" smtClean="0">
                <a:solidFill>
                  <a:srgbClr val="000000"/>
                </a:solidFill>
              </a:rPr>
              <a:t>the </a:t>
            </a:r>
            <a:r>
              <a:rPr lang="en-US" altLang="ko-KR" sz="1100" dirty="0">
                <a:solidFill>
                  <a:srgbClr val="000000"/>
                </a:solidFill>
              </a:rPr>
              <a:t>criteria according to the MD measurement items</a:t>
            </a:r>
            <a:r>
              <a:rPr lang="en-US" altLang="ko-KR" sz="1100" dirty="0" smtClean="0">
                <a:solidFill>
                  <a:srgbClr val="000000"/>
                </a:solidFill>
              </a:rPr>
              <a:t>.</a:t>
            </a:r>
          </a:p>
          <a:p>
            <a:pPr marL="442913" lvl="2" indent="-171450">
              <a:buFontTx/>
              <a:buChar char="-"/>
              <a:defRPr/>
            </a:pPr>
            <a:r>
              <a:rPr lang="en-US" altLang="ko-KR" sz="1100" dirty="0" smtClean="0">
                <a:solidFill>
                  <a:srgbClr val="000000"/>
                </a:solidFill>
              </a:rPr>
              <a:t>The </a:t>
            </a:r>
            <a:r>
              <a:rPr lang="en-US" altLang="ko-KR" sz="1100" dirty="0">
                <a:solidFill>
                  <a:srgbClr val="000000"/>
                </a:solidFill>
              </a:rPr>
              <a:t>assigned SW Engineer reviews the SW design or SW code improvement plan with the SW Architect and reflects it in the design and code according to the development process</a:t>
            </a:r>
            <a:r>
              <a:rPr lang="en-US" altLang="ko-KR" sz="1100" dirty="0" smtClean="0">
                <a:solidFill>
                  <a:srgbClr val="000000"/>
                </a:solidFill>
              </a:rPr>
              <a:t>.</a:t>
            </a:r>
          </a:p>
          <a:p>
            <a:pPr marL="271463" lvl="2" indent="0">
              <a:buNone/>
              <a:defRPr/>
            </a:pPr>
            <a:endParaRPr lang="en-US" altLang="ko-KR" sz="1100" dirty="0">
              <a:solidFill>
                <a:srgbClr val="000000"/>
              </a:solidFill>
            </a:endParaRPr>
          </a:p>
          <a:p>
            <a:pPr marL="271463" lvl="2" indent="0">
              <a:buNone/>
              <a:defRPr/>
            </a:pPr>
            <a:r>
              <a:rPr lang="en-US" altLang="ko-KR" sz="1100" dirty="0" smtClean="0">
                <a:solidFill>
                  <a:srgbClr val="000000"/>
                </a:solidFill>
              </a:rPr>
              <a:t>※ </a:t>
            </a:r>
            <a:r>
              <a:rPr lang="en-US" altLang="ko-KR" sz="1100" dirty="0">
                <a:solidFill>
                  <a:srgbClr val="000000"/>
                </a:solidFill>
              </a:rPr>
              <a:t>Detailed review procedures and methods follow the ‘SW Code Quality Review Technique Guide’.</a:t>
            </a:r>
          </a:p>
          <a:p>
            <a:pPr marL="271463" lvl="2" indent="0" eaLnBrk="1" hangingPunct="1">
              <a:buFont typeface="Wingdings" panose="05000000000000000000" pitchFamily="2" charset="2"/>
              <a:buNone/>
              <a:defRPr/>
            </a:pPr>
            <a:endParaRPr kumimoji="0" lang="en-US" altLang="ko-KR" sz="1100" dirty="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11"/>
          </p:nvPr>
        </p:nvSpPr>
        <p:spPr/>
        <p:txBody>
          <a:bodyPr/>
          <a:lstStyle/>
          <a:p>
            <a:pPr algn="ctr">
              <a:defRPr/>
            </a:pPr>
            <a:fld id="{3B401806-4231-4DE8-A758-C6ACA20AC1A7}" type="slidenum">
              <a:rPr lang="en-US" altLang="ko-KR" smtClean="0"/>
              <a:pPr algn="ctr">
                <a:defRPr/>
              </a:pPr>
              <a:t>12</a:t>
            </a:fld>
            <a:endParaRPr lang="en-US" altLang="ko-KR"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 Box 157"/>
          <p:cNvSpPr txBox="1">
            <a:spLocks noChangeArrowheads="1"/>
          </p:cNvSpPr>
          <p:nvPr/>
        </p:nvSpPr>
        <p:spPr bwMode="auto">
          <a:xfrm>
            <a:off x="2525713" y="2803525"/>
            <a:ext cx="4856162"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dash"/>
                <a:miter lim="800000"/>
                <a:headEnd/>
                <a:tailEnd/>
              </a14:hiddenLine>
            </a:ext>
          </a:extLst>
        </p:spPr>
        <p:txBody>
          <a:bodyPr wrap="none">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4400" b="1" dirty="0">
                <a:latin typeface="Arial" panose="020B0604020202020204" pitchFamily="34" charset="0"/>
                <a:ea typeface="돋움" panose="020B0600000101010101" pitchFamily="50" charset="-127"/>
              </a:rPr>
              <a:t>End of Documen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제목 1"/>
          <p:cNvSpPr txBox="1">
            <a:spLocks/>
          </p:cNvSpPr>
          <p:nvPr/>
        </p:nvSpPr>
        <p:spPr bwMode="auto">
          <a:xfrm>
            <a:off x="128588" y="115888"/>
            <a:ext cx="51847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latinLnBrk="1"/>
            <a:r>
              <a:rPr lang="en-US" altLang="ko-KR" sz="2400" b="1" dirty="0">
                <a:solidFill>
                  <a:srgbClr val="000000"/>
                </a:solidFill>
                <a:latin typeface="Malgun Gothic" panose="020B0503020000020004" pitchFamily="50" charset="-127"/>
                <a:ea typeface="Malgun Gothic" panose="020B0503020000020004" pitchFamily="50" charset="-127"/>
                <a:cs typeface="Arial" panose="020B0604020202020204" pitchFamily="34" charset="0"/>
              </a:rPr>
              <a:t>Document Info</a:t>
            </a:r>
            <a:endParaRPr lang="ko-KR" altLang="en-US" sz="2400" b="1">
              <a:solidFill>
                <a:srgbClr val="000000"/>
              </a:solidFill>
              <a:latin typeface="Malgun Gothic" panose="020B0503020000020004" pitchFamily="50" charset="-127"/>
              <a:ea typeface="Malgun Gothic" panose="020B0503020000020004" pitchFamily="50" charset="-127"/>
              <a:cs typeface="Arial" panose="020B0604020202020204" pitchFamily="34" charset="0"/>
            </a:endParaRPr>
          </a:p>
        </p:txBody>
      </p:sp>
      <p:graphicFrame>
        <p:nvGraphicFramePr>
          <p:cNvPr id="3" name="내용 개체 틀 4"/>
          <p:cNvGraphicFramePr>
            <a:graphicFrameLocks noGrp="1"/>
          </p:cNvGraphicFramePr>
          <p:nvPr>
            <p:extLst>
              <p:ext uri="{D42A27DB-BD31-4B8C-83A1-F6EECF244321}">
                <p14:modId xmlns:p14="http://schemas.microsoft.com/office/powerpoint/2010/main" val="1523358542"/>
              </p:ext>
            </p:extLst>
          </p:nvPr>
        </p:nvGraphicFramePr>
        <p:xfrm>
          <a:off x="344488" y="2449513"/>
          <a:ext cx="9217025" cy="3837602"/>
        </p:xfrm>
        <a:graphic>
          <a:graphicData uri="http://schemas.openxmlformats.org/drawingml/2006/table">
            <a:tbl>
              <a:tblPr/>
              <a:tblGrid>
                <a:gridCol w="1003300"/>
                <a:gridCol w="1387475"/>
                <a:gridCol w="4545012"/>
                <a:gridCol w="913085"/>
                <a:gridCol w="1368153"/>
              </a:tblGrid>
              <a:tr h="36512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ersion</a:t>
                      </a:r>
                      <a:endParaRPr kumimoji="0" lang="ko-KR"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Date</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omment</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utho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4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pprover</a:t>
                      </a:r>
                      <a:endParaRPr kumimoji="0" lang="ko-KR" altLang="ko-KR" sz="14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CCCCCC"/>
                    </a:solidFill>
                  </a:tcPr>
                </a:tc>
              </a:tr>
              <a:tr h="320675">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1.0</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2016-08-19</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tx1"/>
                          </a:solidFill>
                          <a:latin typeface="맑은 고딕" pitchFamily="50" charset="-127"/>
                          <a:ea typeface="맑은 고딕" pitchFamily="50" charset="-127"/>
                          <a:cs typeface="Arial" pitchFamily="34" charset="0"/>
                        </a:rPr>
                        <a:t>Initial Release</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err="1" smtClean="0">
                          <a:solidFill>
                            <a:schemeClr val="tx1"/>
                          </a:solidFill>
                          <a:latin typeface="맑은 고딕" pitchFamily="50" charset="-127"/>
                          <a:ea typeface="맑은 고딕" pitchFamily="50" charset="-127"/>
                          <a:cs typeface="Arial" pitchFamily="34" charset="0"/>
                        </a:rPr>
                        <a:t>Hyuk</a:t>
                      </a:r>
                      <a:r>
                        <a:rPr lang="en-US" altLang="ko-KR" sz="1200" b="0" i="0" kern="100" baseline="0" dirty="0" smtClean="0">
                          <a:solidFill>
                            <a:schemeClr val="tx1"/>
                          </a:solidFill>
                          <a:latin typeface="맑은 고딕" pitchFamily="50" charset="-127"/>
                          <a:ea typeface="맑은 고딕" pitchFamily="50" charset="-127"/>
                          <a:cs typeface="Arial" pitchFamily="34" charset="0"/>
                        </a:rPr>
                        <a:t> Kwon</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p>
                      <a:pPr algn="ctr" hangingPunct="0">
                        <a:spcAft>
                          <a:spcPts val="0"/>
                        </a:spcAft>
                      </a:pPr>
                      <a:r>
                        <a:rPr lang="en-US" altLang="ko-KR" sz="1200" b="0" i="0" kern="100" dirty="0" smtClean="0">
                          <a:solidFill>
                            <a:schemeClr val="tx1"/>
                          </a:solidFill>
                          <a:latin typeface="맑은 고딕" pitchFamily="50" charset="-127"/>
                          <a:ea typeface="맑은 고딕" pitchFamily="50" charset="-127"/>
                          <a:cs typeface="Arial" pitchFamily="34" charset="0"/>
                        </a:rPr>
                        <a:t>Dev Support FD</a:t>
                      </a:r>
                      <a:endParaRPr lang="ko-KR" sz="1200" b="0" i="0" kern="100" dirty="0">
                        <a:solidFill>
                          <a:schemeClr val="tx1"/>
                        </a:solidFill>
                        <a:latin typeface="맑은 고딕" pitchFamily="50" charset="-127"/>
                        <a:ea typeface="맑은 고딕" pitchFamily="50" charset="-127"/>
                        <a:cs typeface="Arial" pitchFamily="34" charset="0"/>
                      </a:endParaRPr>
                    </a:p>
                  </a:txBody>
                  <a:tcPr marL="69938" marR="69938"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8-01-31</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171450" marR="0" lvl="0" indent="-171450" algn="l" defTabSz="914400" rtl="0" eaLnBrk="1" fontAlgn="base" latinLnBrk="1" hangingPunct="0">
                        <a:lnSpc>
                          <a:spcPct val="100000"/>
                        </a:lnSpc>
                        <a:spcBef>
                          <a:spcPct val="0"/>
                        </a:spcBef>
                        <a:spcAft>
                          <a:spcPct val="0"/>
                        </a:spcAft>
                        <a:buClrTx/>
                        <a:buSzTx/>
                        <a:buFontTx/>
                        <a:buChar char="-"/>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ince the static verification execution cycle and SW MD measurement cycle may vary depending on the status of the task, it is not fixed (12p)</a:t>
                      </a:r>
                    </a:p>
                    <a:p>
                      <a:pPr marL="171450" marR="0" lvl="0" indent="-171450" algn="l" defTabSz="914400" rtl="0" eaLnBrk="1" fontAlgn="base" latinLnBrk="1" hangingPunct="0">
                        <a:lnSpc>
                          <a:spcPct val="100000"/>
                        </a:lnSpc>
                        <a:spcBef>
                          <a:spcPct val="0"/>
                        </a:spcBef>
                        <a:spcAft>
                          <a:spcPct val="0"/>
                        </a:spcAft>
                        <a:buClrTx/>
                        <a:buSzTx/>
                        <a:buFontTx/>
                        <a:buChar char="-"/>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Changed to detailed design and implementation guide (Move the detailed design part from the existing design guide)</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Sookyung</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Yoon</a:t>
                      </a:r>
                    </a:p>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Taejoon</a:t>
                      </a: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 Park</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rPr>
                        <a:t>QE division</a:t>
                      </a:r>
                      <a:endParaRPr kumimoji="0" lang="ko-KR" altLang="ko-KR" sz="1200" b="0" i="0" u="none" strike="noStrike" cap="none" normalizeH="0" baseline="0" dirty="0" smtClean="0">
                        <a:ln>
                          <a:noFill/>
                        </a:ln>
                        <a:solidFill>
                          <a:srgbClr val="000000"/>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2-12</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Organization name change</a:t>
                      </a:r>
                      <a:r>
                        <a:rPr kumimoji="0" lang="ko-KR" altLang="en-US" sz="12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VC→VS)</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anghoon</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Lee</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681652">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1.3</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2019-09-04</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ccording to the ‘SW detailed design technique guide v2.0’,</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ed ‘1.1 Context Definition’ </a:t>
                      </a:r>
                    </a:p>
                    <a:p>
                      <a:pPr marL="228600" marR="0" lvl="0" indent="-228600" algn="l" defTabSz="914400" rtl="0" eaLnBrk="1" fontAlgn="base" latinLnBrk="1" hangingPunct="0">
                        <a:lnSpc>
                          <a:spcPct val="100000"/>
                        </a:lnSpc>
                        <a:spcBef>
                          <a:spcPct val="0"/>
                        </a:spcBef>
                        <a:spcAft>
                          <a:spcPct val="0"/>
                        </a:spcAft>
                        <a:buClrTx/>
                        <a:buSzTx/>
                        <a:buFontTx/>
                        <a:buAutoNum type="arabicParenR"/>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Added ‘1.5 Design Alternatives’</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err="1"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GuanRok</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 Park</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defRPr/>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Process Team Leader</a:t>
                      </a: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r h="32067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0">
                        <a:lnSpc>
                          <a:spcPct val="100000"/>
                        </a:lnSpc>
                        <a:spcBef>
                          <a:spcPct val="0"/>
                        </a:spcBef>
                        <a:spcAft>
                          <a:spcPct val="0"/>
                        </a:spcAft>
                        <a:buClrTx/>
                        <a:buSzTx/>
                        <a:buFontTx/>
                        <a:buNone/>
                        <a:tabLst/>
                      </a:pPr>
                      <a:endPar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38" marR="69938" marT="0" marB="0" anchor="ctr" horzOverflow="overflow">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noFill/>
                  </a:tcPr>
                </a:tc>
              </a:tr>
            </a:tbl>
          </a:graphicData>
        </a:graphic>
      </p:graphicFrame>
      <p:sp>
        <p:nvSpPr>
          <p:cNvPr id="8269" name="TextBox 4"/>
          <p:cNvSpPr txBox="1">
            <a:spLocks noChangeArrowheads="1"/>
          </p:cNvSpPr>
          <p:nvPr/>
        </p:nvSpPr>
        <p:spPr bwMode="auto">
          <a:xfrm>
            <a:off x="239713" y="2078038"/>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Revision History</a:t>
            </a:r>
            <a:endParaRPr lang="ko-KR" altLang="en-US" sz="1600" b="1">
              <a:latin typeface="Malgun Gothic" panose="020B0503020000020004" pitchFamily="50" charset="-127"/>
              <a:ea typeface="Malgun Gothic" panose="020B0503020000020004" pitchFamily="50" charset="-127"/>
            </a:endParaRPr>
          </a:p>
        </p:txBody>
      </p:sp>
      <p:sp>
        <p:nvSpPr>
          <p:cNvPr id="8270" name="TextBox 6"/>
          <p:cNvSpPr txBox="1">
            <a:spLocks noChangeArrowheads="1"/>
          </p:cNvSpPr>
          <p:nvPr/>
        </p:nvSpPr>
        <p:spPr bwMode="auto">
          <a:xfrm>
            <a:off x="239713" y="658813"/>
            <a:ext cx="2733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latinLnBrk="1" hangingPunct="1"/>
            <a:r>
              <a:rPr lang="en-US" altLang="ko-KR" sz="1600" b="1" dirty="0">
                <a:latin typeface="Malgun Gothic" panose="020B0503020000020004" pitchFamily="50" charset="-127"/>
                <a:ea typeface="Malgun Gothic" panose="020B0503020000020004" pitchFamily="50" charset="-127"/>
              </a:rPr>
              <a:t>Document Information</a:t>
            </a:r>
            <a:endParaRPr lang="ko-KR" altLang="en-US" sz="1600" b="1">
              <a:latin typeface="Malgun Gothic" panose="020B0503020000020004" pitchFamily="50" charset="-127"/>
              <a:ea typeface="Malgun Gothic" panose="020B0503020000020004" pitchFamily="50" charset="-127"/>
            </a:endParaRPr>
          </a:p>
        </p:txBody>
      </p:sp>
      <p:graphicFrame>
        <p:nvGraphicFramePr>
          <p:cNvPr id="7" name="내용 개체 틀 4"/>
          <p:cNvGraphicFramePr>
            <a:graphicFrameLocks/>
          </p:cNvGraphicFramePr>
          <p:nvPr>
            <p:extLst>
              <p:ext uri="{D42A27DB-BD31-4B8C-83A1-F6EECF244321}">
                <p14:modId xmlns:p14="http://schemas.microsoft.com/office/powerpoint/2010/main" val="2526834618"/>
              </p:ext>
            </p:extLst>
          </p:nvPr>
        </p:nvGraphicFramePr>
        <p:xfrm>
          <a:off x="346075" y="996950"/>
          <a:ext cx="9242425" cy="592138"/>
        </p:xfrm>
        <a:graphic>
          <a:graphicData uri="http://schemas.openxmlformats.org/drawingml/2006/table">
            <a:tbl>
              <a:tblPr/>
              <a:tblGrid>
                <a:gridCol w="2397173"/>
                <a:gridCol w="6845252"/>
              </a:tblGrid>
              <a:tr h="272164">
                <a:tc>
                  <a:txBody>
                    <a:bodyPr/>
                    <a:lstStyle/>
                    <a:p>
                      <a:pPr algn="l" hangingPunct="0">
                        <a:spcAft>
                          <a:spcPts val="0"/>
                        </a:spcAft>
                      </a:pPr>
                      <a:r>
                        <a:rPr lang="en-US" altLang="ko-KR" sz="1200" b="1" kern="100" dirty="0" smtClean="0">
                          <a:latin typeface="맑은 고딕" pitchFamily="50" charset="-127"/>
                          <a:ea typeface="맑은 고딕" pitchFamily="50" charset="-127"/>
                          <a:cs typeface="Arial" pitchFamily="34" charset="0"/>
                        </a:rPr>
                        <a:t>Issuing authority</a:t>
                      </a:r>
                      <a:endParaRPr lang="ko-KR" sz="1200" b="1" kern="100" dirty="0">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base" latinLnBrk="1" hangingPunct="0">
                        <a:lnSpc>
                          <a:spcPct val="100000"/>
                        </a:lnSpc>
                        <a:spcBef>
                          <a:spcPct val="0"/>
                        </a:spcBef>
                        <a:spcAft>
                          <a:spcPct val="0"/>
                        </a:spcAft>
                        <a:buClrTx/>
                        <a:buSzTx/>
                        <a:buFontTx/>
                        <a:buNone/>
                        <a:tabLst/>
                      </a:pP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SW </a:t>
                      </a:r>
                      <a:r>
                        <a:rPr kumimoji="0" lang="en-US" altLang="ko-KR"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rPr>
                        <a:t>Process Unit</a:t>
                      </a:r>
                      <a:endParaRPr kumimoji="0" lang="ko-KR" altLang="en-US" sz="12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cs typeface="Arial" panose="020B0604020202020204" pitchFamily="34" charset="0"/>
                      </a:endParaRPr>
                    </a:p>
                  </a:txBody>
                  <a:tcPr marL="69950" marR="6995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r>
              <a:tr h="319974">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1" kern="100" dirty="0" smtClean="0">
                          <a:latin typeface="맑은 고딕" pitchFamily="50" charset="-127"/>
                          <a:ea typeface="맑은 고딕" pitchFamily="50" charset="-127"/>
                          <a:cs typeface="Arial" pitchFamily="34" charset="0"/>
                        </a:rPr>
                        <a:t>Status of document</a:t>
                      </a:r>
                      <a:endParaRPr lang="ko-KR" altLang="ko-KR" sz="1200" b="1" kern="100" dirty="0" smtClean="0">
                        <a:latin typeface="맑은 고딕" pitchFamily="50" charset="-127"/>
                        <a:ea typeface="맑은 고딕" pitchFamily="50" charset="-127"/>
                        <a:cs typeface="Arial" pitchFamily="34" charset="0"/>
                      </a:endParaRPr>
                    </a:p>
                  </a:txBody>
                  <a:tcPr marL="69944" marR="69944"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auto" latinLnBrk="1" hangingPunct="0">
                        <a:lnSpc>
                          <a:spcPct val="100000"/>
                        </a:lnSpc>
                        <a:spcBef>
                          <a:spcPts val="0"/>
                        </a:spcBef>
                        <a:spcAft>
                          <a:spcPts val="0"/>
                        </a:spcAft>
                        <a:buClrTx/>
                        <a:buSzTx/>
                        <a:buFontTx/>
                        <a:buNone/>
                        <a:tabLst/>
                        <a:defRPr/>
                      </a:pPr>
                      <a:r>
                        <a:rPr lang="en-US" altLang="ko-KR" sz="1200" b="0" i="0" kern="100" dirty="0" smtClean="0">
                          <a:solidFill>
                            <a:schemeClr val="accent4"/>
                          </a:solidFill>
                          <a:latin typeface="맑은 고딕" pitchFamily="50" charset="-127"/>
                          <a:ea typeface="맑은 고딕" pitchFamily="50" charset="-127"/>
                          <a:cs typeface="Arial" pitchFamily="34" charset="0"/>
                        </a:rPr>
                        <a:t>In Progress / Approved / Released</a:t>
                      </a:r>
                      <a:endParaRPr lang="ko-KR" altLang="ko-KR" sz="1200" b="0" i="0" kern="100" dirty="0" smtClean="0">
                        <a:solidFill>
                          <a:schemeClr val="accent4"/>
                        </a:solidFill>
                        <a:latin typeface="맑은 고딕" pitchFamily="50" charset="-127"/>
                        <a:ea typeface="맑은 고딕" pitchFamily="50" charset="-127"/>
                        <a:cs typeface="Arial" pitchFamily="34" charset="0"/>
                      </a:endParaRPr>
                    </a:p>
                  </a:txBody>
                  <a:tcPr marL="69950" marR="69950"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sp>
        <p:nvSpPr>
          <p:cNvPr id="8282" name="Oval 2"/>
          <p:cNvSpPr>
            <a:spLocks noChangeArrowheads="1"/>
          </p:cNvSpPr>
          <p:nvPr/>
        </p:nvSpPr>
        <p:spPr bwMode="auto">
          <a:xfrm>
            <a:off x="4523845" y="1317625"/>
            <a:ext cx="763587" cy="247650"/>
          </a:xfrm>
          <a:prstGeom prst="ellipse">
            <a:avLst/>
          </a:pr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lvl1pPr>
              <a:defRPr kumimoji="1">
                <a:solidFill>
                  <a:schemeClr val="tx1"/>
                </a:solidFill>
                <a:latin typeface="굴림" panose="020B0600000101010101" pitchFamily="50" charset="-127"/>
                <a:ea typeface="굴림" panose="020B0600000101010101" pitchFamily="50" charset="-127"/>
              </a:defRPr>
            </a:lvl1pPr>
            <a:lvl2pPr marL="742950" indent="-285750">
              <a:defRPr kumimoji="1">
                <a:solidFill>
                  <a:schemeClr val="tx1"/>
                </a:solidFill>
                <a:latin typeface="굴림" panose="020B0600000101010101" pitchFamily="50" charset="-127"/>
                <a:ea typeface="굴림" panose="020B0600000101010101" pitchFamily="50" charset="-127"/>
              </a:defRPr>
            </a:lvl2pPr>
            <a:lvl3pPr marL="1143000" indent="-228600">
              <a:defRPr kumimoji="1">
                <a:solidFill>
                  <a:schemeClr val="tx1"/>
                </a:solidFill>
                <a:latin typeface="굴림" panose="020B0600000101010101" pitchFamily="50" charset="-127"/>
                <a:ea typeface="굴림" panose="020B0600000101010101" pitchFamily="50" charset="-127"/>
              </a:defRPr>
            </a:lvl3pPr>
            <a:lvl4pPr marL="1600200" indent="-228600">
              <a:defRPr kumimoji="1">
                <a:solidFill>
                  <a:schemeClr val="tx1"/>
                </a:solidFill>
                <a:latin typeface="굴림" panose="020B0600000101010101" pitchFamily="50" charset="-127"/>
                <a:ea typeface="굴림" panose="020B0600000101010101" pitchFamily="50" charset="-127"/>
              </a:defRPr>
            </a:lvl4pPr>
            <a:lvl5pPr marL="2057400" indent="-22860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endParaRPr lang="ko-KR" alt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그룹 2"/>
          <p:cNvGrpSpPr>
            <a:grpSpLocks/>
          </p:cNvGrpSpPr>
          <p:nvPr/>
        </p:nvGrpSpPr>
        <p:grpSpPr bwMode="auto">
          <a:xfrm>
            <a:off x="1136576" y="1198563"/>
            <a:ext cx="7416824" cy="3875087"/>
            <a:chOff x="1121824" y="1553031"/>
            <a:chExt cx="7416575" cy="3875315"/>
          </a:xfrm>
        </p:grpSpPr>
        <p:sp>
          <p:nvSpPr>
            <p:cNvPr id="10243" name="Rectangle 11"/>
            <p:cNvSpPr>
              <a:spLocks noChangeArrowheads="1"/>
            </p:cNvSpPr>
            <p:nvPr>
              <p:custDataLst>
                <p:tags r:id="rId1"/>
              </p:custDataLst>
            </p:nvPr>
          </p:nvSpPr>
          <p:spPr bwMode="auto">
            <a:xfrm>
              <a:off x="1121824" y="1553031"/>
              <a:ext cx="7416575" cy="471515"/>
            </a:xfrm>
            <a:prstGeom prst="rect">
              <a:avLst/>
            </a:prstGeom>
            <a:solidFill>
              <a:schemeClr val="tx1">
                <a:lumMod val="50000"/>
                <a:lumOff val="50000"/>
              </a:schemeClr>
            </a:solidFill>
            <a:ln w="9525">
              <a:solidFill>
                <a:srgbClr val="808080"/>
              </a:solidFill>
              <a:miter lim="800000"/>
              <a:headEnd/>
              <a:tailEnd/>
            </a:ln>
          </p:spPr>
          <p:txBody>
            <a:bodyPr lIns="67339" tIns="34208" rIns="67339" bIns="34208" anchor="ctr"/>
            <a:lstStyle>
              <a:lvl1pPr defTabSz="684213">
                <a:defRPr kumimoji="1">
                  <a:solidFill>
                    <a:schemeClr val="tx1"/>
                  </a:solidFill>
                  <a:latin typeface="굴림" panose="020B0600000101010101" pitchFamily="50" charset="-127"/>
                  <a:ea typeface="굴림" panose="020B0600000101010101" pitchFamily="50" charset="-127"/>
                </a:defRPr>
              </a:lvl1pPr>
              <a:lvl2pPr marL="742950" indent="-285750" defTabSz="684213">
                <a:defRPr kumimoji="1">
                  <a:solidFill>
                    <a:schemeClr val="tx1"/>
                  </a:solidFill>
                  <a:latin typeface="굴림" panose="020B0600000101010101" pitchFamily="50" charset="-127"/>
                  <a:ea typeface="굴림" panose="020B0600000101010101" pitchFamily="50" charset="-127"/>
                </a:defRPr>
              </a:lvl2pPr>
              <a:lvl3pPr marL="1143000" indent="-228600" defTabSz="684213">
                <a:defRPr kumimoji="1">
                  <a:solidFill>
                    <a:schemeClr val="tx1"/>
                  </a:solidFill>
                  <a:latin typeface="굴림" panose="020B0600000101010101" pitchFamily="50" charset="-127"/>
                  <a:ea typeface="굴림" panose="020B0600000101010101" pitchFamily="50" charset="-127"/>
                </a:defRPr>
              </a:lvl3pPr>
              <a:lvl4pPr marL="1600200" indent="-228600" defTabSz="684213">
                <a:defRPr kumimoji="1">
                  <a:solidFill>
                    <a:schemeClr val="tx1"/>
                  </a:solidFill>
                  <a:latin typeface="굴림" panose="020B0600000101010101" pitchFamily="50" charset="-127"/>
                  <a:ea typeface="굴림" panose="020B0600000101010101" pitchFamily="50" charset="-127"/>
                </a:defRPr>
              </a:lvl4pPr>
              <a:lvl5pPr marL="2057400" indent="-228600" defTabSz="684213">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defRPr/>
              </a:pPr>
              <a:r>
                <a:rPr kumimoji="0" lang="en-US" altLang="ko-KR" sz="2400" b="1" dirty="0" smtClean="0">
                  <a:solidFill>
                    <a:srgbClr val="FFFFFF"/>
                  </a:solidFill>
                  <a:latin typeface="Malgun Gothic" panose="020B0503020000020004" pitchFamily="50" charset="-127"/>
                  <a:ea typeface="Malgun Gothic" panose="020B0503020000020004" pitchFamily="50" charset="-127"/>
                </a:rPr>
                <a:t>Contents</a:t>
              </a:r>
              <a:endParaRPr kumimoji="0" lang="ko-KR" altLang="en-US" sz="2400" b="1" smtClean="0">
                <a:solidFill>
                  <a:srgbClr val="FFFFFF"/>
                </a:solidFill>
                <a:latin typeface="Malgun Gothic" panose="020B0503020000020004" pitchFamily="50" charset="-127"/>
                <a:ea typeface="Malgun Gothic" panose="020B0503020000020004" pitchFamily="50" charset="-127"/>
              </a:endParaRPr>
            </a:p>
          </p:txBody>
        </p:sp>
        <p:sp>
          <p:nvSpPr>
            <p:cNvPr id="9220" name="Rectangle 12"/>
            <p:cNvSpPr>
              <a:spLocks noChangeArrowheads="1"/>
            </p:cNvSpPr>
            <p:nvPr>
              <p:custDataLst>
                <p:tags r:id="rId2"/>
              </p:custDataLst>
            </p:nvPr>
          </p:nvSpPr>
          <p:spPr bwMode="auto">
            <a:xfrm>
              <a:off x="1121824" y="2023380"/>
              <a:ext cx="7416575" cy="3404966"/>
            </a:xfrm>
            <a:prstGeom prst="rect">
              <a:avLst/>
            </a:prstGeom>
            <a:solidFill>
              <a:srgbClr val="FFFFFF"/>
            </a:solidFill>
            <a:ln w="3175">
              <a:solidFill>
                <a:srgbClr val="808080"/>
              </a:solidFill>
              <a:miter lim="800000"/>
              <a:headEnd/>
              <a:tailEnd/>
            </a:ln>
          </p:spPr>
          <p:txBody>
            <a:bodyPr lIns="68416" tIns="34208" rIns="68416" bIns="34208" anchor="ctr"/>
            <a:lstStyle>
              <a:lvl1pPr marL="1160463" indent="-454025" defTabSz="684213">
                <a:tabLst>
                  <a:tab pos="736600" algn="l"/>
                </a:tabLst>
                <a:defRPr kumimoji="1">
                  <a:solidFill>
                    <a:schemeClr val="tx1"/>
                  </a:solidFill>
                  <a:latin typeface="굴림" panose="020B0600000101010101" pitchFamily="50" charset="-127"/>
                  <a:ea typeface="굴림" panose="020B0600000101010101" pitchFamily="50" charset="-127"/>
                </a:defRPr>
              </a:lvl1pPr>
              <a:lvl2pPr marL="742950" indent="-285750" defTabSz="684213">
                <a:tabLst>
                  <a:tab pos="736600" algn="l"/>
                </a:tabLst>
                <a:defRPr kumimoji="1">
                  <a:solidFill>
                    <a:schemeClr val="tx1"/>
                  </a:solidFill>
                  <a:latin typeface="굴림" panose="020B0600000101010101" pitchFamily="50" charset="-127"/>
                  <a:ea typeface="굴림" panose="020B0600000101010101" pitchFamily="50" charset="-127"/>
                </a:defRPr>
              </a:lvl2pPr>
              <a:lvl3pPr marL="11430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3pPr>
              <a:lvl4pPr marL="16002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4pPr>
              <a:lvl5pPr marL="2057400" indent="-228600" defTabSz="684213">
                <a:tabLst>
                  <a:tab pos="736600" algn="l"/>
                </a:tabLst>
                <a:defRPr kumimoji="1">
                  <a:solidFill>
                    <a:schemeClr val="tx1"/>
                  </a:solidFill>
                  <a:latin typeface="굴림" panose="020B0600000101010101" pitchFamily="50" charset="-127"/>
                  <a:ea typeface="굴림" panose="020B0600000101010101" pitchFamily="50" charset="-127"/>
                </a:defRPr>
              </a:lvl5pPr>
              <a:lvl6pPr marL="25146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6pPr>
              <a:lvl7pPr marL="29718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7pPr>
              <a:lvl8pPr marL="34290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8pPr>
              <a:lvl9pPr marL="3886200" indent="-228600" defTabSz="684213" eaLnBrk="0" fontAlgn="base" hangingPunct="0">
                <a:spcBef>
                  <a:spcPct val="0"/>
                </a:spcBef>
                <a:spcAft>
                  <a:spcPct val="0"/>
                </a:spcAft>
                <a:tabLst>
                  <a:tab pos="736600" algn="l"/>
                </a:tabLst>
                <a:defRPr kumimoji="1">
                  <a:solidFill>
                    <a:schemeClr val="tx1"/>
                  </a:solidFill>
                  <a:latin typeface="굴림" panose="020B0600000101010101" pitchFamily="50" charset="-127"/>
                  <a:ea typeface="굴림" panose="020B0600000101010101" pitchFamily="50" charset="-127"/>
                </a:defRPr>
              </a:lvl9pPr>
            </a:lstStyle>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a:t>
              </a:r>
              <a:r>
                <a:rPr lang="en-US" altLang="ko-KR" sz="1700" b="1" dirty="0" smtClean="0">
                  <a:solidFill>
                    <a:srgbClr val="000000"/>
                  </a:solidFill>
                  <a:latin typeface="Malgun Gothic" panose="020B0503020000020004" pitchFamily="50" charset="-127"/>
                  <a:ea typeface="Malgun Gothic" panose="020B0503020000020004" pitchFamily="50" charset="-127"/>
                </a:rPr>
                <a:t>Detailed Design</a:t>
              </a:r>
              <a:endParaRPr lang="en-US" altLang="ko-KR" sz="1700" b="1" dirty="0">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Requirements Traceability Management (SDD-SAD)</a:t>
              </a:r>
              <a:endParaRPr lang="en-US" altLang="ko-KR" sz="1700" b="1" dirty="0">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Detailed Design </a:t>
              </a:r>
              <a:r>
                <a:rPr lang="en-US" altLang="ko-KR" sz="1700" b="1" dirty="0" smtClean="0">
                  <a:solidFill>
                    <a:srgbClr val="000000"/>
                  </a:solidFill>
                  <a:latin typeface="Malgun Gothic" panose="020B0503020000020004" pitchFamily="50" charset="-127"/>
                  <a:ea typeface="Malgun Gothic" panose="020B0503020000020004" pitchFamily="50" charset="-127"/>
                </a:rPr>
                <a:t>Review</a:t>
              </a:r>
              <a:endParaRPr lang="en-US" altLang="ko-KR" sz="1700" b="1" dirty="0">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맑은 고딕" panose="020B0503020000020004" pitchFamily="50" charset="-127"/>
                  <a:ea typeface="맑은 고딕" panose="020B0503020000020004" pitchFamily="50" charset="-127"/>
                </a:rPr>
                <a:t>SW </a:t>
              </a:r>
              <a:r>
                <a:rPr lang="en-US" altLang="ko-KR" sz="1700" b="1" dirty="0" smtClean="0">
                  <a:solidFill>
                    <a:srgbClr val="000000"/>
                  </a:solidFill>
                  <a:latin typeface="맑은 고딕" panose="020B0503020000020004" pitchFamily="50" charset="-127"/>
                  <a:ea typeface="맑은 고딕" panose="020B0503020000020004" pitchFamily="50" charset="-127"/>
                </a:rPr>
                <a:t>Detailed Design Version Control</a:t>
              </a:r>
              <a:endParaRPr lang="en-US" altLang="ko-KR" sz="1700" b="1" dirty="0">
                <a:solidFill>
                  <a:srgbClr val="000000"/>
                </a:solidFill>
                <a:latin typeface="맑은 고딕" panose="020B0503020000020004" pitchFamily="50" charset="-127"/>
                <a:ea typeface="맑은 고딕"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smtClean="0">
                  <a:solidFill>
                    <a:srgbClr val="000000"/>
                  </a:solidFill>
                  <a:latin typeface="Malgun Gothic" panose="020B0503020000020004" pitchFamily="50" charset="-127"/>
                  <a:ea typeface="Malgun Gothic" panose="020B0503020000020004" pitchFamily="50" charset="-127"/>
                </a:rPr>
                <a:t>SW Implementation</a:t>
              </a:r>
              <a:endParaRPr lang="en-US" altLang="ko-KR" sz="1700" b="1" dirty="0">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Requirements Traceability Management (</a:t>
              </a:r>
              <a:r>
                <a:rPr lang="en-US" altLang="ko-KR" sz="1700" b="1" dirty="0" smtClean="0">
                  <a:solidFill>
                    <a:srgbClr val="000000"/>
                  </a:solidFill>
                  <a:latin typeface="Malgun Gothic" panose="020B0503020000020004" pitchFamily="50" charset="-127"/>
                  <a:ea typeface="Malgun Gothic" panose="020B0503020000020004" pitchFamily="50" charset="-127"/>
                </a:rPr>
                <a:t>SDD-Source code)</a:t>
              </a:r>
              <a:endParaRPr lang="en-US" altLang="ko-KR" sz="1700" b="1" dirty="0">
                <a:solidFill>
                  <a:srgbClr val="000000"/>
                </a:solidFill>
                <a:latin typeface="Malgun Gothic" panose="020B0503020000020004" pitchFamily="50" charset="-127"/>
                <a:ea typeface="Malgun Gothic" panose="020B0503020000020004" pitchFamily="50" charset="-127"/>
              </a:endParaRPr>
            </a:p>
            <a:p>
              <a:pPr eaLnBrk="1" hangingPunct="1">
                <a:lnSpc>
                  <a:spcPts val="2800"/>
                </a:lnSpc>
                <a:buFont typeface="굴림" panose="020B0600000101010101" pitchFamily="50" charset="-127"/>
                <a:buAutoNum type="arabicPeriod"/>
              </a:pPr>
              <a:r>
                <a:rPr lang="en-US" altLang="ko-KR" sz="1700" b="1" dirty="0">
                  <a:solidFill>
                    <a:srgbClr val="000000"/>
                  </a:solidFill>
                  <a:latin typeface="Malgun Gothic" panose="020B0503020000020004" pitchFamily="50" charset="-127"/>
                  <a:ea typeface="Malgun Gothic" panose="020B0503020000020004" pitchFamily="50" charset="-127"/>
                </a:rPr>
                <a:t>SW </a:t>
              </a:r>
              <a:r>
                <a:rPr lang="en-US" altLang="ko-KR" sz="1700" b="1" dirty="0" smtClean="0">
                  <a:solidFill>
                    <a:srgbClr val="000000"/>
                  </a:solidFill>
                  <a:latin typeface="Malgun Gothic" panose="020B0503020000020004" pitchFamily="50" charset="-127"/>
                  <a:ea typeface="Malgun Gothic" panose="020B0503020000020004" pitchFamily="50" charset="-127"/>
                </a:rPr>
                <a:t>Code Quality Review</a:t>
              </a:r>
              <a:endParaRPr lang="en-US" altLang="ko-KR" sz="1700" b="1" dirty="0">
                <a:solidFill>
                  <a:srgbClr val="000000"/>
                </a:solidFill>
                <a:latin typeface="Malgun Gothic" panose="020B0503020000020004" pitchFamily="50" charset="-127"/>
                <a:ea typeface="Malgun Gothic" panose="020B0503020000020004" pitchFamily="50" charset="-127"/>
              </a:endParaRPr>
            </a:p>
          </p:txBody>
        </p:sp>
      </p:grpSp>
      <p:sp>
        <p:nvSpPr>
          <p:cNvPr id="2" name="슬라이드 번호 개체 틀 1"/>
          <p:cNvSpPr>
            <a:spLocks noGrp="1"/>
          </p:cNvSpPr>
          <p:nvPr>
            <p:ph type="sldNum" sz="quarter" idx="11"/>
          </p:nvPr>
        </p:nvSpPr>
        <p:spPr/>
        <p:txBody>
          <a:bodyPr/>
          <a:lstStyle/>
          <a:p>
            <a:pPr algn="ctr">
              <a:defRPr/>
            </a:pPr>
            <a:fld id="{3B401806-4231-4DE8-A758-C6ACA20AC1A7}" type="slidenum">
              <a:rPr lang="en-US" altLang="ko-KR" smtClean="0"/>
              <a:pPr algn="ctr">
                <a:defRPr/>
              </a:pPr>
              <a:t>3</a:t>
            </a:fld>
            <a:endParaRPr lang="en-US" altLang="ko-KR"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buFont typeface="굴림" panose="020B0600000101010101" pitchFamily="50" charset="-127"/>
              <a:buAutoNum type="arabicPeriod"/>
            </a:pPr>
            <a:r>
              <a:rPr lang="en-US" altLang="ko-KR" dirty="0" smtClean="0">
                <a:solidFill>
                  <a:srgbClr val="000000"/>
                </a:solidFill>
                <a:latin typeface="Malgun Gothic" panose="020B0503020000020004" pitchFamily="50" charset="-127"/>
                <a:ea typeface="Malgun Gothic" panose="020B0503020000020004" pitchFamily="50" charset="-127"/>
              </a:rPr>
              <a:t> SW </a:t>
            </a:r>
            <a:r>
              <a:rPr lang="en-US" altLang="ko-KR" dirty="0">
                <a:solidFill>
                  <a:srgbClr val="000000"/>
                </a:solidFill>
                <a:latin typeface="Malgun Gothic" panose="020B0503020000020004" pitchFamily="50" charset="-127"/>
                <a:ea typeface="Malgun Gothic" panose="020B0503020000020004" pitchFamily="50" charset="-127"/>
              </a:rPr>
              <a:t>Detailed </a:t>
            </a:r>
            <a:r>
              <a:rPr lang="en-US" altLang="ko-KR" dirty="0" smtClean="0">
                <a:solidFill>
                  <a:srgbClr val="000000"/>
                </a:solidFill>
                <a:latin typeface="Malgun Gothic" panose="020B0503020000020004" pitchFamily="50" charset="-127"/>
                <a:ea typeface="Malgun Gothic" panose="020B0503020000020004" pitchFamily="50" charset="-127"/>
              </a:rPr>
              <a:t>Design</a:t>
            </a:r>
            <a:endParaRPr lang="en-US" altLang="ko-KR" dirty="0">
              <a:solidFill>
                <a:srgbClr val="000000"/>
              </a:solidFill>
              <a:latin typeface="Malgun Gothic" panose="020B0503020000020004" pitchFamily="50" charset="-127"/>
              <a:ea typeface="Malgun Gothic" panose="020B0503020000020004" pitchFamily="50" charset="-127"/>
            </a:endParaRPr>
          </a:p>
        </p:txBody>
      </p:sp>
      <p:sp>
        <p:nvSpPr>
          <p:cNvPr id="18435" name="텍스트 개체 틀 2"/>
          <p:cNvSpPr>
            <a:spLocks noGrp="1"/>
          </p:cNvSpPr>
          <p:nvPr>
            <p:ph type="body" sz="quarter" idx="10"/>
          </p:nvPr>
        </p:nvSpPr>
        <p:spPr bwMode="auto">
          <a:xfrm>
            <a:off x="323850" y="1917676"/>
            <a:ext cx="9093200" cy="446365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sz="1100" b="1" dirty="0"/>
              <a:t>1.1 Context Definition</a:t>
            </a:r>
            <a:r>
              <a:rPr lang="en-US" altLang="ko-KR" sz="1100" dirty="0"/>
              <a:t/>
            </a:r>
            <a:br>
              <a:rPr lang="en-US" altLang="ko-KR" sz="1100" dirty="0"/>
            </a:br>
            <a:r>
              <a:rPr lang="en-US" altLang="ko-KR" sz="1100" dirty="0"/>
              <a:t>SW Engineer identifies the adjacent components based on SW Architectural Design and the interface with them. The external interface list identified here becomes the design scope to be provided by the design target component.</a:t>
            </a:r>
          </a:p>
          <a:p>
            <a:endParaRPr lang="en-US" altLang="ko-KR" sz="1100" dirty="0"/>
          </a:p>
          <a:p>
            <a:r>
              <a:rPr lang="en-US" altLang="ko-KR" sz="1100" b="1" dirty="0"/>
              <a:t>1.2 SW Static Design</a:t>
            </a:r>
            <a:r>
              <a:rPr lang="en-US" altLang="ko-KR" sz="1100" dirty="0"/>
              <a:t/>
            </a:r>
            <a:br>
              <a:rPr lang="en-US" altLang="ko-KR" sz="1100" dirty="0"/>
            </a:br>
            <a:r>
              <a:rPr lang="en-US" altLang="ko-KR" sz="1100" dirty="0"/>
              <a:t>SW Engineer identifies and defines SW units and interfaces composing SW components based on SW Architectural Design and SW requirements assigned to SW components, and designs the SW component internal structure and necessary data based on this. When SW design modeling is performed, the internal structure may be designed as a class diagram, a function structure, etc.</a:t>
            </a:r>
          </a:p>
          <a:p>
            <a:endParaRPr lang="en-US" altLang="ko-KR" sz="1100" dirty="0"/>
          </a:p>
          <a:p>
            <a:r>
              <a:rPr lang="en-US" altLang="ko-KR" sz="1100" b="1" dirty="0"/>
              <a:t>1.3 SW Dynamic Design</a:t>
            </a:r>
            <a:r>
              <a:rPr lang="en-US" altLang="ko-KR" sz="1100" dirty="0"/>
              <a:t/>
            </a:r>
            <a:br>
              <a:rPr lang="en-US" altLang="ko-KR" sz="1100" dirty="0"/>
            </a:br>
            <a:r>
              <a:rPr lang="en-US" altLang="ko-KR" sz="1100" dirty="0"/>
              <a:t>SW Engineer defines the internal state of SW components and designs the dynamic flow between SW units and interfaces in consideration of this. When SW design modeling is performed, the internal dynamic flow can be designed as a State Diagram, Transition Diagram, Sequence Diagram, Function Call Graph, etc.</a:t>
            </a:r>
          </a:p>
          <a:p>
            <a:endParaRPr lang="en-US" altLang="ko-KR" sz="1100" dirty="0"/>
          </a:p>
          <a:p>
            <a:r>
              <a:rPr lang="en-US" altLang="ko-KR" sz="1100" b="1" dirty="0"/>
              <a:t>1.4 SW function design</a:t>
            </a:r>
            <a:r>
              <a:rPr lang="en-US" altLang="ko-KR" sz="1100" dirty="0"/>
              <a:t/>
            </a:r>
            <a:br>
              <a:rPr lang="en-US" altLang="ko-KR" sz="1100" dirty="0"/>
            </a:br>
            <a:r>
              <a:rPr lang="en-US" altLang="ko-KR" sz="1100" dirty="0"/>
              <a:t>SW Engineer designs the identified SW unit internal logic. Unit internal logic can be written in pseudo code, and when SW design modeling is performed, it can be designed as a flow chart.</a:t>
            </a:r>
          </a:p>
          <a:p>
            <a:endParaRPr lang="en-US" altLang="ko-KR" sz="1100" dirty="0"/>
          </a:p>
          <a:p>
            <a:r>
              <a:rPr lang="en-US" altLang="ko-KR" sz="1100" b="1" dirty="0"/>
              <a:t>1.5 Design Alternatives</a:t>
            </a:r>
            <a:r>
              <a:rPr lang="en-US" altLang="ko-KR" sz="1100" dirty="0"/>
              <a:t/>
            </a:r>
            <a:br>
              <a:rPr lang="en-US" altLang="ko-KR" sz="1100" dirty="0"/>
            </a:br>
            <a:r>
              <a:rPr lang="en-US" altLang="ko-KR" sz="1100" dirty="0"/>
              <a:t>SW Engineer identifies and selects various design solutions for the main subject to achieve the goal of the component to be designed.</a:t>
            </a:r>
          </a:p>
          <a:p>
            <a:endParaRPr lang="en-US" altLang="ko-KR" sz="1100" dirty="0"/>
          </a:p>
          <a:p>
            <a:r>
              <a:rPr lang="en-US" altLang="ko-KR" sz="1100" dirty="0"/>
              <a:t>※ For detailed techniques for SW Detailed Design, refer to ‘SW Detailed Design Technique Guide’.</a:t>
            </a:r>
            <a:endParaRPr lang="ko-KR" altLang="en-US" sz="1100"/>
          </a:p>
        </p:txBody>
      </p:sp>
      <p:graphicFrame>
        <p:nvGraphicFramePr>
          <p:cNvPr id="2" name="표 1"/>
          <p:cNvGraphicFramePr>
            <a:graphicFrameLocks noGrp="1"/>
          </p:cNvGraphicFramePr>
          <p:nvPr>
            <p:extLst>
              <p:ext uri="{D42A27DB-BD31-4B8C-83A1-F6EECF244321}">
                <p14:modId xmlns:p14="http://schemas.microsoft.com/office/powerpoint/2010/main" val="2134978307"/>
              </p:ext>
            </p:extLst>
          </p:nvPr>
        </p:nvGraphicFramePr>
        <p:xfrm>
          <a:off x="328613" y="620688"/>
          <a:ext cx="9172575" cy="1228340"/>
        </p:xfrm>
        <a:graphic>
          <a:graphicData uri="http://schemas.openxmlformats.org/drawingml/2006/table">
            <a:tbl>
              <a:tblPr/>
              <a:tblGrid>
                <a:gridCol w="3057525"/>
                <a:gridCol w="3057525"/>
                <a:gridCol w="3057525"/>
              </a:tblGrid>
              <a:tr h="29858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92622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performs SW Detailed Design based on SW  SW Requirements Specification and SW Architectural Design</a:t>
                      </a: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1 Context Definitio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2 SW Static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3 SW Dynamic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4 SW function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1.5 Design Alternatives [SW Engineer]</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7" marB="4577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4</a:t>
            </a:fld>
            <a:endParaRPr lang="en-US" altLang="ko-KR" dirty="0"/>
          </a:p>
        </p:txBody>
      </p:sp>
    </p:spTree>
    <p:extLst>
      <p:ext uri="{BB962C8B-B14F-4D97-AF65-F5344CB8AC3E}">
        <p14:creationId xmlns:p14="http://schemas.microsoft.com/office/powerpoint/2010/main" val="16889596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2. </a:t>
            </a:r>
            <a:r>
              <a:rPr lang="en-US" altLang="ko-KR" dirty="0" smtClean="0">
                <a:solidFill>
                  <a:srgbClr val="000000"/>
                </a:solidFill>
                <a:latin typeface="Malgun Gothic" panose="020B0503020000020004" pitchFamily="50" charset="-127"/>
                <a:ea typeface="Malgun Gothic" panose="020B0503020000020004" pitchFamily="50" charset="-127"/>
              </a:rPr>
              <a:t>Requirements </a:t>
            </a:r>
            <a:r>
              <a:rPr lang="en-US" altLang="ko-KR" dirty="0">
                <a:solidFill>
                  <a:srgbClr val="000000"/>
                </a:solidFill>
                <a:latin typeface="Malgun Gothic" panose="020B0503020000020004" pitchFamily="50" charset="-127"/>
                <a:ea typeface="Malgun Gothic" panose="020B0503020000020004" pitchFamily="50" charset="-127"/>
              </a:rPr>
              <a:t>Traceability Management (SDD-SAD</a:t>
            </a:r>
            <a:r>
              <a:rPr lang="en-US" altLang="ko-KR" dirty="0" smtClean="0">
                <a:solidFill>
                  <a:srgbClr val="000000"/>
                </a:solidFill>
                <a:latin typeface="Malgun Gothic" panose="020B0503020000020004" pitchFamily="50" charset="-127"/>
                <a:ea typeface="Malgun Gothic" panose="020B0503020000020004" pitchFamily="50" charset="-127"/>
              </a:rPr>
              <a:t>)</a:t>
            </a:r>
            <a:endParaRPr lang="en-US" altLang="ko-KR" dirty="0">
              <a:solidFill>
                <a:srgbClr val="000000"/>
              </a:solidFill>
              <a:latin typeface="Malgun Gothic" panose="020B0503020000020004" pitchFamily="50" charset="-127"/>
              <a:ea typeface="Malgun Gothic" panose="020B0503020000020004" pitchFamily="50" charset="-127"/>
            </a:endParaRPr>
          </a:p>
        </p:txBody>
      </p:sp>
      <p:sp>
        <p:nvSpPr>
          <p:cNvPr id="18435"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2.1 Establish traceability (SDD-SAD)</a:t>
            </a:r>
          </a:p>
          <a:p>
            <a:pPr marL="271463" lvl="2" indent="0" eaLnBrk="1" hangingPunct="1">
              <a:buNone/>
              <a:defRPr/>
            </a:pPr>
            <a:r>
              <a:rPr kumimoji="0" lang="en-US" altLang="ko-KR" sz="1100" dirty="0">
                <a:latin typeface="Malgun Gothic" panose="020B0503020000020004" pitchFamily="50" charset="-127"/>
                <a:ea typeface="Malgun Gothic" panose="020B0503020000020004" pitchFamily="50" charset="-127"/>
              </a:rPr>
              <a:t>SW </a:t>
            </a:r>
            <a:r>
              <a:rPr kumimoji="0" lang="en-US" altLang="ko-KR" sz="1100" dirty="0" smtClean="0">
                <a:latin typeface="Malgun Gothic" panose="020B0503020000020004" pitchFamily="50" charset="-127"/>
                <a:ea typeface="Malgun Gothic" panose="020B0503020000020004" pitchFamily="50" charset="-127"/>
              </a:rPr>
              <a:t>Engineer establishes traceability </a:t>
            </a:r>
            <a:r>
              <a:rPr kumimoji="0" lang="en-US" altLang="ko-KR" sz="1100" dirty="0">
                <a:latin typeface="Malgun Gothic" panose="020B0503020000020004" pitchFamily="50" charset="-127"/>
                <a:ea typeface="Malgun Gothic" panose="020B0503020000020004" pitchFamily="50" charset="-127"/>
              </a:rPr>
              <a:t>between SW </a:t>
            </a:r>
            <a:r>
              <a:rPr kumimoji="0" lang="en-US" altLang="ko-KR" sz="1100" dirty="0" smtClean="0">
                <a:latin typeface="Malgun Gothic" panose="020B0503020000020004" pitchFamily="50" charset="-127"/>
                <a:ea typeface="Malgun Gothic" panose="020B0503020000020004" pitchFamily="50" charset="-127"/>
              </a:rPr>
              <a:t>detailed design </a:t>
            </a:r>
            <a:r>
              <a:rPr kumimoji="0" lang="en-US" altLang="ko-KR" sz="1100" dirty="0">
                <a:latin typeface="Malgun Gothic" panose="020B0503020000020004" pitchFamily="50" charset="-127"/>
                <a:ea typeface="Malgun Gothic" panose="020B0503020000020004" pitchFamily="50" charset="-127"/>
              </a:rPr>
              <a:t>and SW architectural design by considering the items below.</a:t>
            </a: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endParaRPr lang="en-US" altLang="ko-KR" sz="1100" dirty="0">
              <a:latin typeface="Malgun Gothic" panose="020B0503020000020004" pitchFamily="50" charset="-127"/>
              <a:ea typeface="Malgun Gothic" panose="020B0503020000020004" pitchFamily="50" charset="-127"/>
            </a:endParaRP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In principle, requirements should be traced 100% without omission in the work products of each development stage.</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In principle, requirements should be traced according to the structure and scope of traceability management of work products defined in the 'Requirements Traceability Guide'.</a:t>
            </a:r>
          </a:p>
          <a:p>
            <a:pPr marL="534988" lvl="4" indent="-171450">
              <a:buFontTx/>
              <a:buChar char="-"/>
              <a:defRPr/>
            </a:pPr>
            <a:r>
              <a:rPr lang="en-US" altLang="ko-KR" sz="1100" dirty="0" err="1">
                <a:latin typeface="Malgun Gothic" panose="020B0503020000020004" pitchFamily="50" charset="-127"/>
                <a:ea typeface="Malgun Gothic" panose="020B0503020000020004" pitchFamily="50" charset="-127"/>
              </a:rPr>
              <a:t>codeBeamer</a:t>
            </a:r>
            <a:r>
              <a:rPr lang="en-US" altLang="ko-KR" sz="1100" dirty="0">
                <a:latin typeface="Malgun Gothic" panose="020B0503020000020004" pitchFamily="50" charset="-127"/>
                <a:ea typeface="Malgun Gothic" panose="020B0503020000020004" pitchFamily="50" charset="-127"/>
              </a:rPr>
              <a:t> or RTM file can be used as a trace management tool. </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A trace relationship can be defined during the creation or completion of requirements or traceable work products.</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When requirements or traceable work products change, it is reviewed whether the traceability needs to be adjusted due to the change and the traceability is reestablished.</a:t>
            </a:r>
          </a:p>
          <a:p>
            <a:pPr marL="534988" lvl="4" indent="-171450">
              <a:buFontTx/>
              <a:buChar char="-"/>
              <a:defRPr/>
            </a:pPr>
            <a:r>
              <a:rPr lang="en-US" altLang="ko-KR" sz="1100" dirty="0">
                <a:latin typeface="Malgun Gothic" panose="020B0503020000020004" pitchFamily="50" charset="-127"/>
                <a:ea typeface="Malgun Gothic" panose="020B0503020000020004" pitchFamily="50" charset="-127"/>
              </a:rPr>
              <a:t>The structure and scope of trace management and trace management tool can be adjusted and used according to the characteristics of the project (</a:t>
            </a:r>
            <a:r>
              <a:rPr lang="en-US" altLang="ko-KR" sz="1100" dirty="0" err="1">
                <a:latin typeface="Malgun Gothic" panose="020B0503020000020004" pitchFamily="50" charset="-127"/>
                <a:ea typeface="Malgun Gothic" panose="020B0503020000020004" pitchFamily="50" charset="-127"/>
              </a:rPr>
              <a:t>e.g</a:t>
            </a:r>
            <a:r>
              <a:rPr lang="en-US" altLang="ko-KR" sz="1100" dirty="0">
                <a:latin typeface="Malgun Gothic" panose="020B0503020000020004" pitchFamily="50" charset="-127"/>
                <a:ea typeface="Malgun Gothic" panose="020B0503020000020004" pitchFamily="50" charset="-127"/>
              </a:rPr>
              <a:t>, development environment).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pP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679530608"/>
              </p:ext>
            </p:extLst>
          </p:nvPr>
        </p:nvGraphicFramePr>
        <p:xfrm>
          <a:off x="328613" y="908050"/>
          <a:ext cx="9172575" cy="1021036"/>
        </p:xfrm>
        <a:graphic>
          <a:graphicData uri="http://schemas.openxmlformats.org/drawingml/2006/table">
            <a:tbl>
              <a:tblPr/>
              <a:tblGrid>
                <a:gridCol w="3057525"/>
                <a:gridCol w="3057525"/>
                <a:gridCol w="3057525"/>
              </a:tblGrid>
              <a:tr h="259058">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705">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establishes traceability betwee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and</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Architectural Design. </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2.1 Establish traceability [SW Engineer]</a:t>
                      </a:r>
                    </a:p>
                    <a:p>
                      <a:pPr marL="0" marR="0" lvl="0" indent="0" algn="l" defTabSz="914400" rtl="0" eaLnBrk="1" fontAlgn="base" latinLnBrk="1" hangingPunct="1">
                        <a:lnSpc>
                          <a:spcPct val="100000"/>
                        </a:lnSpc>
                        <a:spcBef>
                          <a:spcPct val="0"/>
                        </a:spcBef>
                        <a:spcAft>
                          <a:spcPct val="0"/>
                        </a:spcAft>
                        <a:buClrTx/>
                        <a:buSzTx/>
                        <a:buFontTx/>
                        <a:buNone/>
                        <a:tabLst/>
                      </a:pP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including traceability)</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Requirements Traceability Matrix (If applicable)</a:t>
                      </a:r>
                    </a:p>
                    <a:p>
                      <a:pPr marL="0" marR="0" lvl="0" indent="0" algn="l" defTabSz="914400" rtl="0" eaLnBrk="1" fontAlgn="base" latinLnBrk="1" hangingPunct="1">
                        <a:lnSpc>
                          <a:spcPct val="100000"/>
                        </a:lnSpc>
                        <a:spcBef>
                          <a:spcPct val="0"/>
                        </a:spcBef>
                        <a:spcAft>
                          <a:spcPct val="0"/>
                        </a:spcAft>
                        <a:buClrTx/>
                        <a:buSzTx/>
                        <a:buFontTx/>
                        <a:buNone/>
                        <a:tabLst/>
                      </a:pPr>
                      <a:endPar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09" marB="4570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5</a:t>
            </a:fld>
            <a:endParaRPr lang="en-US" altLang="ko-KR" dirty="0"/>
          </a:p>
        </p:txBody>
      </p:sp>
    </p:spTree>
    <p:extLst>
      <p:ext uri="{BB962C8B-B14F-4D97-AF65-F5344CB8AC3E}">
        <p14:creationId xmlns:p14="http://schemas.microsoft.com/office/powerpoint/2010/main" val="22856328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lnSpc>
                <a:spcPts val="2800"/>
              </a:lnSpc>
            </a:pPr>
            <a:r>
              <a:rPr lang="en-US" altLang="ko-KR" dirty="0" smtClean="0">
                <a:solidFill>
                  <a:schemeClr val="tx1"/>
                </a:solidFill>
                <a:latin typeface="Malgun Gothic" panose="020B0503020000020004" pitchFamily="50" charset="-127"/>
                <a:ea typeface="Malgun Gothic" panose="020B0503020000020004" pitchFamily="50" charset="-127"/>
              </a:rPr>
              <a:t>3. S</a:t>
            </a:r>
            <a:r>
              <a:rPr lang="en-US" altLang="ko-KR" dirty="0" smtClean="0">
                <a:solidFill>
                  <a:srgbClr val="000000"/>
                </a:solidFill>
                <a:latin typeface="Malgun Gothic" panose="020B0503020000020004" pitchFamily="50" charset="-127"/>
                <a:ea typeface="Malgun Gothic" panose="020B0503020000020004" pitchFamily="50" charset="-127"/>
              </a:rPr>
              <a:t>W </a:t>
            </a:r>
            <a:r>
              <a:rPr lang="en-US" altLang="ko-KR" dirty="0">
                <a:solidFill>
                  <a:srgbClr val="000000"/>
                </a:solidFill>
                <a:latin typeface="Malgun Gothic" panose="020B0503020000020004" pitchFamily="50" charset="-127"/>
                <a:ea typeface="Malgun Gothic" panose="020B0503020000020004" pitchFamily="50" charset="-127"/>
              </a:rPr>
              <a:t>Detailed Design Review</a:t>
            </a:r>
            <a:br>
              <a:rPr lang="en-US" altLang="ko-KR" dirty="0">
                <a:solidFill>
                  <a:srgbClr val="000000"/>
                </a:solidFill>
                <a:latin typeface="Malgun Gothic" panose="020B0503020000020004" pitchFamily="50" charset="-127"/>
                <a:ea typeface="Malgun Gothic" panose="020B0503020000020004" pitchFamily="50" charset="-127"/>
              </a:rPr>
            </a:b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9459" name="텍스트 개체 틀 2"/>
          <p:cNvSpPr>
            <a:spLocks noGrp="1"/>
          </p:cNvSpPr>
          <p:nvPr>
            <p:ph type="body" sz="quarter" idx="10"/>
          </p:nvPr>
        </p:nvSpPr>
        <p:spPr bwMode="auto">
          <a:xfrm>
            <a:off x="323850" y="2060575"/>
            <a:ext cx="9093200" cy="4032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3.1 Review </a:t>
            </a:r>
            <a:r>
              <a:rPr lang="en-US" altLang="ko-KR" sz="1100" b="1" dirty="0">
                <a:latin typeface="Malgun Gothic" panose="020B0503020000020004" pitchFamily="50" charset="-127"/>
                <a:ea typeface="Malgun Gothic" panose="020B0503020000020004" pitchFamily="50" charset="-127"/>
              </a:rPr>
              <a:t>Meeting Preparation</a:t>
            </a:r>
          </a:p>
          <a:p>
            <a:pPr marL="271463" lvl="2" indent="0" eaLnBrk="1" hangingPunct="1">
              <a:buFont typeface="Wingdings" panose="05000000000000000000" pitchFamily="2" charset="2"/>
              <a:buNone/>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defRPr/>
            </a:pPr>
            <a:r>
              <a:rPr lang="en-US" altLang="ko-KR" sz="1100" dirty="0">
                <a:latin typeface="Malgun Gothic" panose="020B0503020000020004" pitchFamily="50" charset="-127"/>
                <a:ea typeface="Malgun Gothic" panose="020B0503020000020004" pitchFamily="50" charset="-127"/>
              </a:rPr>
              <a:t>SW Engineer </a:t>
            </a:r>
            <a:r>
              <a:rPr lang="en-US" altLang="ko-KR" sz="1100" dirty="0" smtClean="0">
                <a:latin typeface="Malgun Gothic" panose="020B0503020000020004" pitchFamily="50" charset="-127"/>
                <a:ea typeface="Malgun Gothic" panose="020B0503020000020004" pitchFamily="50" charset="-127"/>
              </a:rPr>
              <a:t>holds </a:t>
            </a:r>
            <a:r>
              <a:rPr lang="en-US" altLang="ko-KR" sz="1100" dirty="0">
                <a:latin typeface="Malgun Gothic" panose="020B0503020000020004" pitchFamily="50" charset="-127"/>
                <a:ea typeface="Malgun Gothic" panose="020B0503020000020004" pitchFamily="50" charset="-127"/>
              </a:rPr>
              <a:t>the review meeting with relevant stakeholders.</a:t>
            </a:r>
          </a:p>
          <a:p>
            <a:pPr marL="541338" lvl="4" indent="-177800">
              <a:buFontTx/>
              <a:buChar char="-"/>
              <a:defRPr/>
            </a:pPr>
            <a:endParaRPr lang="en-US" altLang="ko-KR" sz="1100" dirty="0">
              <a:latin typeface="Malgun Gothic" panose="020B0503020000020004" pitchFamily="50" charset="-127"/>
              <a:ea typeface="Malgun Gothic" panose="020B0503020000020004" pitchFamily="50" charset="-127"/>
            </a:endParaRP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Ensure that the work products are ready to be reviewed.</a:t>
            </a:r>
            <a:br>
              <a:rPr lang="en-US" altLang="ko-KR" sz="1100" dirty="0">
                <a:latin typeface="Malgun Gothic" panose="020B0503020000020004" pitchFamily="50" charset="-127"/>
                <a:ea typeface="Malgun Gothic" panose="020B0503020000020004" pitchFamily="50" charset="-127"/>
              </a:rPr>
            </a:br>
            <a:r>
              <a:rPr lang="en-US" altLang="ko-KR" sz="1100" dirty="0">
                <a:latin typeface="Malgun Gothic" panose="020B0503020000020004" pitchFamily="50" charset="-127"/>
                <a:ea typeface="Malgun Gothic" panose="020B0503020000020004" pitchFamily="50" charset="-127"/>
              </a:rPr>
              <a:t>: The subject of review can be a SW design model related to SW </a:t>
            </a:r>
            <a:r>
              <a:rPr lang="en-US" altLang="ko-KR" sz="1100" dirty="0" smtClean="0">
                <a:latin typeface="Malgun Gothic" panose="020B0503020000020004" pitchFamily="50" charset="-127"/>
                <a:ea typeface="Malgun Gothic" panose="020B0503020000020004" pitchFamily="50" charset="-127"/>
              </a:rPr>
              <a:t>Detailed </a:t>
            </a:r>
            <a:r>
              <a:rPr lang="en-US" altLang="ko-KR" sz="1100" dirty="0">
                <a:latin typeface="Malgun Gothic" panose="020B0503020000020004" pitchFamily="50" charset="-127"/>
                <a:ea typeface="Malgun Gothic" panose="020B0503020000020004" pitchFamily="50" charset="-127"/>
              </a:rPr>
              <a:t>Design.</a:t>
            </a: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Prepare a review checklist.</a:t>
            </a:r>
            <a:br>
              <a:rPr lang="en-US" altLang="ko-KR" sz="1100" dirty="0">
                <a:latin typeface="Malgun Gothic" panose="020B0503020000020004" pitchFamily="50" charset="-127"/>
                <a:ea typeface="Malgun Gothic" panose="020B0503020000020004" pitchFamily="50" charset="-127"/>
              </a:rPr>
            </a:br>
            <a:r>
              <a:rPr lang="en-US" altLang="ko-KR" sz="1100" dirty="0">
                <a:latin typeface="Malgun Gothic" panose="020B0503020000020004" pitchFamily="50" charset="-127"/>
                <a:ea typeface="Malgun Gothic" panose="020B0503020000020004" pitchFamily="50" charset="-127"/>
              </a:rPr>
              <a:t>: You can select the items to be reviewed from the standard checklist and add items for review if necessary.</a:t>
            </a: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Schedule with review participants. </a:t>
            </a:r>
            <a:br>
              <a:rPr lang="en-US" altLang="ko-KR" sz="1100" dirty="0">
                <a:latin typeface="Malgun Gothic" panose="020B0503020000020004" pitchFamily="50" charset="-127"/>
                <a:ea typeface="Malgun Gothic" panose="020B0503020000020004" pitchFamily="50" charset="-127"/>
              </a:rPr>
            </a:br>
            <a:r>
              <a:rPr lang="en-US" altLang="ko-KR" sz="1100" dirty="0">
                <a:latin typeface="Malgun Gothic" panose="020B0503020000020004" pitchFamily="50" charset="-127"/>
                <a:ea typeface="Malgun Gothic" panose="020B0503020000020004" pitchFamily="50" charset="-127"/>
              </a:rPr>
              <a:t>: Required Participants: SW Architect, SW Engineer, </a:t>
            </a:r>
            <a:r>
              <a:rPr lang="en-US" altLang="ko-KR" sz="1100" dirty="0" smtClean="0">
                <a:latin typeface="Malgun Gothic" panose="020B0503020000020004" pitchFamily="50" charset="-127"/>
                <a:ea typeface="Malgun Gothic" panose="020B0503020000020004" pitchFamily="50" charset="-127"/>
              </a:rPr>
              <a:t>QA</a:t>
            </a:r>
            <a:r>
              <a:rPr lang="en-US" altLang="ko-KR" sz="1100" dirty="0">
                <a:latin typeface="Malgun Gothic" panose="020B0503020000020004" pitchFamily="50" charset="-127"/>
                <a:ea typeface="Malgun Gothic" panose="020B0503020000020004" pitchFamily="50" charset="-127"/>
              </a:rPr>
              <a:t/>
            </a:r>
            <a:br>
              <a:rPr lang="en-US" altLang="ko-KR" sz="1100" dirty="0">
                <a:latin typeface="Malgun Gothic" panose="020B0503020000020004" pitchFamily="50" charset="-127"/>
                <a:ea typeface="Malgun Gothic" panose="020B0503020000020004" pitchFamily="50" charset="-127"/>
              </a:rPr>
            </a:br>
            <a:r>
              <a:rPr lang="en-US" altLang="ko-KR" sz="1100" dirty="0">
                <a:latin typeface="Malgun Gothic" panose="020B0503020000020004" pitchFamily="50" charset="-127"/>
                <a:ea typeface="Malgun Gothic" panose="020B0503020000020004" pitchFamily="50" charset="-127"/>
              </a:rPr>
              <a:t>: Additional review participants may be selected as needed.</a:t>
            </a:r>
          </a:p>
          <a:p>
            <a:pPr marL="541338" lvl="4" indent="-177800">
              <a:buFontTx/>
              <a:buChar char="-"/>
              <a:defRPr/>
            </a:pPr>
            <a:r>
              <a:rPr lang="en-US" altLang="ko-KR" sz="1100" dirty="0">
                <a:latin typeface="Malgun Gothic" panose="020B0503020000020004" pitchFamily="50" charset="-127"/>
                <a:ea typeface="Malgun Gothic" panose="020B0503020000020004" pitchFamily="50" charset="-127"/>
              </a:rPr>
              <a:t>Distribute review materials in advance and hold a review meeting</a:t>
            </a:r>
            <a:r>
              <a:rPr lang="en-US" altLang="ko-KR" sz="1100" dirty="0" smtClean="0">
                <a:latin typeface="Malgun Gothic" panose="020B0503020000020004" pitchFamily="50" charset="-127"/>
                <a:ea typeface="Malgun Gothic" panose="020B0503020000020004" pitchFamily="50" charset="-127"/>
              </a:rPr>
              <a:t>.</a:t>
            </a:r>
            <a:endParaRPr lang="en-US" altLang="ko-KR" sz="1100" dirty="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3752609175"/>
              </p:ext>
            </p:extLst>
          </p:nvPr>
        </p:nvGraphicFramePr>
        <p:xfrm>
          <a:off x="328613" y="908050"/>
          <a:ext cx="9172575" cy="1021112"/>
        </p:xfrm>
        <a:graphic>
          <a:graphicData uri="http://schemas.openxmlformats.org/drawingml/2006/table">
            <a:tbl>
              <a:tblPr/>
              <a:tblGrid>
                <a:gridCol w="3057525"/>
                <a:gridCol w="3223046"/>
                <a:gridCol w="2892004"/>
              </a:tblGrid>
              <a:tr h="259096">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59497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reviews SW Detailed Design and relevant work product with stakeholders</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1 Review Meeting Preparatio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2 Conducting Review Meeting</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3.3 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upplement</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R Report</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28" marB="45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6</a:t>
            </a:fld>
            <a:endParaRPr lang="en-US" altLang="ko-KR" dirty="0"/>
          </a:p>
        </p:txBody>
      </p:sp>
    </p:spTree>
    <p:extLst>
      <p:ext uri="{BB962C8B-B14F-4D97-AF65-F5344CB8AC3E}">
        <p14:creationId xmlns:p14="http://schemas.microsoft.com/office/powerpoint/2010/main" val="18368160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3. </a:t>
            </a:r>
            <a:r>
              <a:rPr lang="en-US" altLang="ko-KR" dirty="0">
                <a:solidFill>
                  <a:schemeClr val="tx1"/>
                </a:solidFill>
                <a:latin typeface="Malgun Gothic" panose="020B0503020000020004" pitchFamily="50" charset="-127"/>
                <a:ea typeface="Malgun Gothic" panose="020B0503020000020004" pitchFamily="50" charset="-127"/>
              </a:rPr>
              <a:t>S</a:t>
            </a:r>
            <a:r>
              <a:rPr lang="en-US" altLang="ko-KR" dirty="0">
                <a:solidFill>
                  <a:srgbClr val="000000"/>
                </a:solidFill>
                <a:latin typeface="Malgun Gothic" panose="020B0503020000020004" pitchFamily="50" charset="-127"/>
                <a:ea typeface="Malgun Gothic" panose="020B0503020000020004" pitchFamily="50" charset="-127"/>
              </a:rPr>
              <a:t>W Detailed Design Review </a:t>
            </a:r>
            <a:r>
              <a:rPr lang="en-US" altLang="ko-KR" dirty="0" smtClean="0">
                <a:solidFill>
                  <a:srgbClr val="000000"/>
                </a:solidFill>
                <a:latin typeface="Malgun Gothic" panose="020B0503020000020004" pitchFamily="50" charset="-127"/>
                <a:ea typeface="Malgun Gothic" panose="020B0503020000020004" pitchFamily="50" charset="-127"/>
              </a:rPr>
              <a:t>(cont.)</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21507" name="텍스트 개체 틀 2"/>
          <p:cNvSpPr>
            <a:spLocks noGrp="1"/>
          </p:cNvSpPr>
          <p:nvPr>
            <p:ph type="body" sz="quarter" idx="10"/>
          </p:nvPr>
        </p:nvSpPr>
        <p:spPr bwMode="auto">
          <a:xfrm>
            <a:off x="344488" y="714375"/>
            <a:ext cx="8894762" cy="4572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defRPr/>
            </a:pPr>
            <a:r>
              <a:rPr lang="en-US" altLang="ko-KR" sz="1100" b="1" dirty="0" smtClean="0">
                <a:latin typeface="Malgun Gothic" panose="020B0503020000020004" pitchFamily="50" charset="-127"/>
                <a:ea typeface="Malgun Gothic" panose="020B0503020000020004" pitchFamily="50" charset="-127"/>
              </a:rPr>
              <a:t>3.2 </a:t>
            </a:r>
            <a:r>
              <a:rPr lang="en-US" altLang="ko-KR" sz="1100" b="1" dirty="0">
                <a:latin typeface="Malgun Gothic" panose="020B0503020000020004" pitchFamily="50" charset="-127"/>
                <a:ea typeface="Malgun Gothic" panose="020B0503020000020004" pitchFamily="50" charset="-127"/>
              </a:rPr>
              <a:t>Conducting Review Meeting </a:t>
            </a:r>
          </a:p>
          <a:p>
            <a:pPr marL="271463" lvl="2" indent="0" eaLnBrk="1" hangingPunct="1">
              <a:buFontTx/>
              <a:buNone/>
              <a:defRPr/>
            </a:pPr>
            <a:r>
              <a:rPr lang="en-US" altLang="ko-KR" sz="1100" dirty="0">
                <a:latin typeface="Malgun Gothic" panose="020B0503020000020004" pitchFamily="50" charset="-127"/>
                <a:ea typeface="Malgun Gothic" panose="020B0503020000020004" pitchFamily="50" charset="-127"/>
              </a:rPr>
              <a:t>SW </a:t>
            </a:r>
            <a:r>
              <a:rPr lang="en-US" altLang="ko-KR" sz="1100" dirty="0" smtClean="0">
                <a:latin typeface="Malgun Gothic" panose="020B0503020000020004" pitchFamily="50" charset="-127"/>
                <a:ea typeface="Malgun Gothic" panose="020B0503020000020004" pitchFamily="50" charset="-127"/>
              </a:rPr>
              <a:t>Engineer </a:t>
            </a:r>
            <a:r>
              <a:rPr lang="en-US" altLang="ko-KR" sz="1100" dirty="0">
                <a:latin typeface="Malgun Gothic" panose="020B0503020000020004" pitchFamily="50" charset="-127"/>
                <a:ea typeface="Malgun Gothic" panose="020B0503020000020004" pitchFamily="50" charset="-127"/>
              </a:rPr>
              <a:t>conducts a review meeting based on the review checklist. </a:t>
            </a: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Tx/>
              <a:buNone/>
              <a:defRP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review should focus on the </a:t>
            </a:r>
            <a:r>
              <a:rPr lang="en-US" altLang="ko-KR" sz="1100" dirty="0" smtClean="0">
                <a:latin typeface="Malgun Gothic" panose="020B0503020000020004" pitchFamily="50" charset="-127"/>
                <a:ea typeface="Malgun Gothic" panose="020B0503020000020004" pitchFamily="50" charset="-127"/>
              </a:rPr>
              <a:t>following (</a:t>
            </a:r>
            <a:r>
              <a:rPr lang="en-US" altLang="ko-KR" sz="1100" dirty="0">
                <a:latin typeface="Malgun Gothic" panose="020B0503020000020004" pitchFamily="50" charset="-127"/>
                <a:ea typeface="Malgun Gothic" panose="020B0503020000020004" pitchFamily="50" charset="-127"/>
              </a:rPr>
              <a:t>Refer to ‘VR Checklist’ for detailed checklist</a:t>
            </a:r>
            <a:r>
              <a:rPr lang="en-US" altLang="ko-KR" sz="1100" dirty="0" smtClean="0">
                <a:latin typeface="Malgun Gothic" panose="020B0503020000020004" pitchFamily="50" charset="-127"/>
                <a:ea typeface="Malgun Gothic" panose="020B0503020000020004" pitchFamily="50" charset="-127"/>
              </a:rPr>
              <a:t>) :</a:t>
            </a:r>
            <a:endParaRPr lang="en-US" altLang="ko-KR" sz="1100" dirty="0">
              <a:latin typeface="Malgun Gothic" panose="020B0503020000020004" pitchFamily="50" charset="-127"/>
              <a:ea typeface="Malgun Gothic" panose="020B0503020000020004" pitchFamily="50" charset="-127"/>
            </a:endParaRPr>
          </a:p>
          <a:p>
            <a:pPr marL="442913" lvl="2" indent="-171450" eaLnBrk="1" hangingPunct="1">
              <a:buFontTx/>
              <a:buChar char="-"/>
              <a:defRPr/>
            </a:pPr>
            <a:r>
              <a:rPr lang="en-US" altLang="ko-KR" sz="1100" dirty="0">
                <a:latin typeface="Malgun Gothic" panose="020B0503020000020004" pitchFamily="50" charset="-127"/>
                <a:ea typeface="Malgun Gothic" panose="020B0503020000020004" pitchFamily="50" charset="-127"/>
              </a:rPr>
              <a:t>Compliance: Has everything been faithfully completed according to standard forms?</a:t>
            </a:r>
          </a:p>
          <a:p>
            <a:pPr marL="442913" lvl="2" indent="-171450" eaLnBrk="1" hangingPunct="1">
              <a:buFontTx/>
              <a:buChar char="-"/>
              <a:defRPr/>
            </a:pPr>
            <a:r>
              <a:rPr lang="en-US" altLang="ko-KR" sz="1100" dirty="0">
                <a:latin typeface="Malgun Gothic" panose="020B0503020000020004" pitchFamily="50" charset="-127"/>
                <a:ea typeface="Malgun Gothic" panose="020B0503020000020004" pitchFamily="50" charset="-127"/>
              </a:rPr>
              <a:t>Correctness: Is the written content accurately described?</a:t>
            </a: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Traceability</a:t>
            </a:r>
            <a:r>
              <a:rPr lang="en-US" altLang="ko-KR" sz="1100" dirty="0">
                <a:latin typeface="Malgun Gothic" panose="020B0503020000020004" pitchFamily="50" charset="-127"/>
                <a:ea typeface="Malgun Gothic" panose="020B0503020000020004" pitchFamily="50" charset="-127"/>
              </a:rPr>
              <a:t>: Does it satisfy </a:t>
            </a:r>
            <a:r>
              <a:rPr lang="en-US" altLang="ko-KR" sz="1100" dirty="0" smtClean="0">
                <a:latin typeface="Malgun Gothic" panose="020B0503020000020004" pitchFamily="50" charset="-127"/>
                <a:ea typeface="Malgun Gothic" panose="020B0503020000020004" pitchFamily="50" charset="-127"/>
              </a:rPr>
              <a:t>SW Architectural Design?</a:t>
            </a:r>
            <a:endParaRPr lang="en-US" altLang="ko-KR" sz="1100" dirty="0">
              <a:latin typeface="Malgun Gothic" panose="020B0503020000020004" pitchFamily="50" charset="-127"/>
              <a:ea typeface="Malgun Gothic" panose="020B0503020000020004" pitchFamily="50" charset="-127"/>
            </a:endParaRPr>
          </a:p>
          <a:p>
            <a:pPr marL="442913" lvl="2" indent="-171450" eaLnBrk="1" hangingPunct="1">
              <a:buFontTx/>
              <a:buChar char="-"/>
              <a:defRPr/>
            </a:pPr>
            <a:r>
              <a:rPr lang="en-US" altLang="ko-KR" sz="1100" dirty="0" smtClean="0">
                <a:latin typeface="Malgun Gothic" panose="020B0503020000020004" pitchFamily="50" charset="-127"/>
                <a:ea typeface="Malgun Gothic" panose="020B0503020000020004" pitchFamily="50" charset="-127"/>
              </a:rPr>
              <a:t>Others: </a:t>
            </a:r>
            <a:r>
              <a:rPr lang="en-US" altLang="ko-KR" sz="1100" dirty="0"/>
              <a:t>Interoperability, Interaction, Criticality, Technical Complexity, Risks and Testability </a:t>
            </a:r>
            <a:endParaRPr lang="en-US" altLang="ko-KR" sz="1100" dirty="0" smtClean="0"/>
          </a:p>
          <a:p>
            <a:pPr marL="271463" lvl="2" indent="0" eaLnBrk="1" hangingPunct="1">
              <a:buNone/>
              <a:defRPr/>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None/>
              <a:defRPr/>
            </a:pPr>
            <a:r>
              <a:rPr lang="en-US" altLang="ko-KR" sz="1100" dirty="0" smtClean="0">
                <a:latin typeface="Malgun Gothic" panose="020B0503020000020004" pitchFamily="50" charset="-127"/>
                <a:ea typeface="Malgun Gothic" panose="020B0503020000020004" pitchFamily="50" charset="-127"/>
              </a:rPr>
              <a:t>The </a:t>
            </a:r>
            <a:r>
              <a:rPr lang="en-US" altLang="ko-KR" sz="1100" dirty="0">
                <a:latin typeface="Malgun Gothic" panose="020B0503020000020004" pitchFamily="50" charset="-127"/>
                <a:ea typeface="Malgun Gothic" panose="020B0503020000020004" pitchFamily="50" charset="-127"/>
              </a:rPr>
              <a:t>review results are written in the VR Report, and any issue or defect found are managed according to the ‘Issue Management Process’</a:t>
            </a:r>
          </a:p>
          <a:p>
            <a:pPr marL="363538" lvl="4" indent="0">
              <a:buNone/>
              <a:defRPr/>
            </a:pPr>
            <a:endParaRPr lang="en-US" altLang="ko-KR" sz="1100" dirty="0" smtClean="0">
              <a:latin typeface="Malgun Gothic" panose="020B0503020000020004" pitchFamily="50" charset="-127"/>
              <a:ea typeface="Malgun Gothic" panose="020B0503020000020004" pitchFamily="50" charset="-127"/>
            </a:endParaRPr>
          </a:p>
          <a:p>
            <a:pPr marL="0" indent="0">
              <a:defRPr/>
            </a:pPr>
            <a:r>
              <a:rPr lang="en-US" altLang="ko-KR" sz="1100" b="1" dirty="0" smtClean="0">
                <a:latin typeface="Malgun Gothic" panose="020B0503020000020004" pitchFamily="50" charset="-127"/>
                <a:ea typeface="Malgun Gothic" panose="020B0503020000020004" pitchFamily="50" charset="-127"/>
              </a:rPr>
              <a:t>3.3 </a:t>
            </a:r>
            <a:r>
              <a:rPr lang="en-US" altLang="ko-KR" sz="1100" b="1" dirty="0">
                <a:latin typeface="Malgun Gothic" panose="020B0503020000020004" pitchFamily="50" charset="-127"/>
                <a:ea typeface="Malgun Gothic" panose="020B0503020000020004" pitchFamily="50" charset="-127"/>
              </a:rPr>
              <a:t>SW </a:t>
            </a:r>
            <a:r>
              <a:rPr lang="en-US" altLang="ko-KR" sz="1100" b="1" dirty="0" smtClean="0">
                <a:latin typeface="Malgun Gothic" panose="020B0503020000020004" pitchFamily="50" charset="-127"/>
                <a:ea typeface="Malgun Gothic" panose="020B0503020000020004" pitchFamily="50" charset="-127"/>
              </a:rPr>
              <a:t>Detailed </a:t>
            </a:r>
            <a:r>
              <a:rPr lang="en-US" altLang="ko-KR" sz="1100" b="1" dirty="0">
                <a:latin typeface="Malgun Gothic" panose="020B0503020000020004" pitchFamily="50" charset="-127"/>
                <a:ea typeface="Malgun Gothic" panose="020B0503020000020004" pitchFamily="50" charset="-127"/>
              </a:rPr>
              <a:t>Design</a:t>
            </a:r>
            <a:r>
              <a:rPr lang="ko-KR" altLang="en-US" sz="1100" b="1">
                <a:latin typeface="Malgun Gothic" panose="020B0503020000020004" pitchFamily="50" charset="-127"/>
                <a:ea typeface="Malgun Gothic" panose="020B0503020000020004" pitchFamily="50" charset="-127"/>
              </a:rPr>
              <a:t> </a:t>
            </a:r>
            <a:r>
              <a:rPr lang="en-US" altLang="ko-KR" sz="1100" b="1" dirty="0">
                <a:latin typeface="Malgun Gothic" panose="020B0503020000020004" pitchFamily="50" charset="-127"/>
                <a:ea typeface="Malgun Gothic" panose="020B0503020000020004" pitchFamily="50" charset="-127"/>
              </a:rPr>
              <a:t>Supplement</a:t>
            </a:r>
            <a:r>
              <a:rPr lang="ko-KR" altLang="en-US" sz="1100" b="1">
                <a:latin typeface="Malgun Gothic" panose="020B0503020000020004" pitchFamily="50" charset="-127"/>
                <a:ea typeface="Malgun Gothic" panose="020B0503020000020004" pitchFamily="50" charset="-127"/>
              </a:rPr>
              <a:t> </a:t>
            </a:r>
            <a:r>
              <a:rPr lang="en-US" altLang="ko-KR" sz="1100" b="1" dirty="0">
                <a:latin typeface="Malgun Gothic" panose="020B0503020000020004" pitchFamily="50" charset="-127"/>
                <a:ea typeface="Malgun Gothic" panose="020B0503020000020004" pitchFamily="50" charset="-127"/>
              </a:rPr>
              <a:t>(if applicable)</a:t>
            </a:r>
          </a:p>
          <a:p>
            <a:pPr marL="271463" lvl="2" indent="0" eaLnBrk="1" hangingPunct="1">
              <a:buFont typeface="Wingdings" panose="05000000000000000000" pitchFamily="2" charset="2"/>
              <a:buNone/>
              <a:defRPr/>
            </a:pP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271463"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SW </a:t>
            </a: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Engineer </a:t>
            </a: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supplements the SW </a:t>
            </a:r>
            <a:r>
              <a:rPr kumimoji="0" lang="en-US" altLang="ko-KR" sz="1100" dirty="0" smtClean="0">
                <a:latin typeface="Malgun Gothic" panose="020B0503020000020004" pitchFamily="50" charset="-127"/>
                <a:ea typeface="Malgun Gothic" panose="020B0503020000020004" pitchFamily="50" charset="-127"/>
                <a:cs typeface="Times New Roman" panose="02020603050405020304" pitchFamily="18" charset="0"/>
              </a:rPr>
              <a:t>detailed </a:t>
            </a: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design referring to the review result. </a:t>
            </a:r>
          </a:p>
          <a:p>
            <a:pPr marL="271463" lvl="2" indent="0" eaLnBrk="1" hangingPunct="1">
              <a:buFont typeface="Wingdings" panose="05000000000000000000" pitchFamily="2" charset="2"/>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VR is executed again if needed.</a:t>
            </a:r>
          </a:p>
          <a:p>
            <a:pPr marL="271463" lvl="2" indent="0" eaLnBrk="1" hangingPunct="1">
              <a:buFont typeface="Wingdings" panose="05000000000000000000" pitchFamily="2" charset="2"/>
              <a:buNone/>
              <a:defRPr/>
            </a:pPr>
            <a:endPar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endParaRPr>
          </a:p>
          <a:p>
            <a:pPr marL="0" lvl="2" indent="0" eaLnBrk="1" hangingPunct="1">
              <a:buFontTx/>
              <a:buNone/>
              <a:defRPr/>
            </a:pPr>
            <a:r>
              <a:rPr kumimoji="0" lang="en-US" altLang="ko-KR" sz="1100" dirty="0">
                <a:latin typeface="Malgun Gothic" panose="020B0503020000020004" pitchFamily="50" charset="-127"/>
                <a:ea typeface="Malgun Gothic" panose="020B0503020000020004" pitchFamily="50" charset="-127"/>
                <a:cs typeface="Times New Roman" panose="02020603050405020304" pitchFamily="18" charset="0"/>
              </a:rPr>
              <a:t>※ Detailed review procedure follows ‘Review Process’. </a:t>
            </a:r>
          </a:p>
          <a:p>
            <a:pPr marL="0" indent="0">
              <a:defRPr/>
            </a:pPr>
            <a:endParaRPr lang="en-US" altLang="ko-KR" sz="1100" b="1" dirty="0" smtClean="0">
              <a:latin typeface="Malgun Gothic" panose="020B0503020000020004" pitchFamily="50" charset="-127"/>
              <a:ea typeface="Malgun Gothic" panose="020B0503020000020004" pitchFamily="50" charset="-127"/>
            </a:endParaRPr>
          </a:p>
        </p:txBody>
      </p:sp>
      <p:sp>
        <p:nvSpPr>
          <p:cNvPr id="2" name="슬라이드 번호 개체 틀 1"/>
          <p:cNvSpPr>
            <a:spLocks noGrp="1"/>
          </p:cNvSpPr>
          <p:nvPr>
            <p:ph type="sldNum" sz="quarter" idx="11"/>
          </p:nvPr>
        </p:nvSpPr>
        <p:spPr/>
        <p:txBody>
          <a:bodyPr/>
          <a:lstStyle/>
          <a:p>
            <a:pPr algn="ctr">
              <a:defRPr/>
            </a:pPr>
            <a:fld id="{3B401806-4231-4DE8-A758-C6ACA20AC1A7}" type="slidenum">
              <a:rPr lang="en-US" altLang="ko-KR" smtClean="0"/>
              <a:pPr algn="ctr">
                <a:defRPr/>
              </a:pPr>
              <a:t>7</a:t>
            </a:fld>
            <a:endParaRPr lang="en-US" altLang="ko-KR" dirty="0"/>
          </a:p>
        </p:txBody>
      </p:sp>
    </p:spTree>
    <p:extLst>
      <p:ext uri="{BB962C8B-B14F-4D97-AF65-F5344CB8AC3E}">
        <p14:creationId xmlns:p14="http://schemas.microsoft.com/office/powerpoint/2010/main" val="7495390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4. </a:t>
            </a:r>
            <a:r>
              <a:rPr lang="en-US" altLang="ko-KR" dirty="0">
                <a:solidFill>
                  <a:srgbClr val="000000"/>
                </a:solidFill>
              </a:rPr>
              <a:t>SW Detailed Design </a:t>
            </a:r>
            <a:r>
              <a:rPr lang="en-US" altLang="ko-KR" dirty="0" smtClean="0">
                <a:solidFill>
                  <a:srgbClr val="000000"/>
                </a:solidFill>
              </a:rPr>
              <a:t>Version Control</a:t>
            </a: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21507"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4.1 </a:t>
            </a:r>
            <a:r>
              <a:rPr lang="en-US" altLang="ko-KR" sz="1100" b="1" dirty="0">
                <a:latin typeface="Malgun Gothic" panose="020B0503020000020004" pitchFamily="50" charset="-127"/>
                <a:ea typeface="Malgun Gothic" panose="020B0503020000020004" pitchFamily="50" charset="-127"/>
              </a:rPr>
              <a:t>Registering Work Product</a:t>
            </a: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SW Engineer</a:t>
            </a:r>
            <a:r>
              <a:rPr lang="en-US" altLang="ko-KR" sz="1100" dirty="0" smtClean="0">
                <a:latin typeface="Malgun Gothic" panose="020B0503020000020004" pitchFamily="50" charset="-127"/>
                <a:ea typeface="Malgun Gothic" panose="020B0503020000020004" pitchFamily="50" charset="-127"/>
              </a:rPr>
              <a:t> </a:t>
            </a:r>
            <a:r>
              <a:rPr lang="en-US" altLang="ko-KR" sz="1100" dirty="0">
                <a:latin typeface="Malgun Gothic" panose="020B0503020000020004" pitchFamily="50" charset="-127"/>
                <a:ea typeface="Malgun Gothic" panose="020B0503020000020004" pitchFamily="50" charset="-127"/>
              </a:rPr>
              <a:t>registers the reviewed SW </a:t>
            </a:r>
            <a:r>
              <a:rPr lang="en-US" altLang="ko-KR" sz="1100" dirty="0" smtClean="0">
                <a:latin typeface="Malgun Gothic" panose="020B0503020000020004" pitchFamily="50" charset="-127"/>
                <a:ea typeface="Malgun Gothic" panose="020B0503020000020004" pitchFamily="50" charset="-127"/>
              </a:rPr>
              <a:t>Detailed </a:t>
            </a:r>
            <a:r>
              <a:rPr lang="en-US" altLang="ko-KR" sz="1100" dirty="0">
                <a:latin typeface="Malgun Gothic" panose="020B0503020000020004" pitchFamily="50" charset="-127"/>
                <a:ea typeface="Malgun Gothic" panose="020B0503020000020004" pitchFamily="50" charset="-127"/>
              </a:rPr>
              <a:t>Design in the project repository. </a:t>
            </a: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You have to register work products according to the CM plan of the project.</a:t>
            </a:r>
          </a:p>
          <a:p>
            <a:pPr marL="271463" lvl="2" indent="0" eaLnBrk="1" hangingPunct="1">
              <a:buFont typeface="Wingdings" panose="05000000000000000000" pitchFamily="2" charset="2"/>
              <a:buNone/>
            </a:pPr>
            <a:r>
              <a:rPr lang="en-US" altLang="ko-KR" sz="1100" dirty="0">
                <a:latin typeface="Malgun Gothic" panose="020B0503020000020004" pitchFamily="50" charset="-127"/>
                <a:ea typeface="Malgun Gothic" panose="020B0503020000020004" pitchFamily="50" charset="-127"/>
              </a:rPr>
              <a:t>When SW design modeling is performed, the related SW design model must also be included in the SW </a:t>
            </a:r>
            <a:r>
              <a:rPr lang="en-US" altLang="ko-KR" sz="1100" dirty="0" smtClean="0">
                <a:latin typeface="Malgun Gothic" panose="020B0503020000020004" pitchFamily="50" charset="-127"/>
                <a:ea typeface="Malgun Gothic" panose="020B0503020000020004" pitchFamily="50" charset="-127"/>
              </a:rPr>
              <a:t>Detailed </a:t>
            </a:r>
            <a:r>
              <a:rPr lang="en-US" altLang="ko-KR" sz="1100" dirty="0">
                <a:latin typeface="Malgun Gothic" panose="020B0503020000020004" pitchFamily="50" charset="-127"/>
                <a:ea typeface="Malgun Gothic" panose="020B0503020000020004" pitchFamily="50" charset="-127"/>
              </a:rPr>
              <a:t>Design and registered and managed.</a:t>
            </a: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a:p>
            <a:pPr marL="0" indent="0"/>
            <a:r>
              <a:rPr lang="en-US" altLang="ko-KR" sz="1100" b="1" dirty="0" smtClean="0">
                <a:latin typeface="Malgun Gothic" panose="020B0503020000020004" pitchFamily="50" charset="-127"/>
                <a:ea typeface="Malgun Gothic" panose="020B0503020000020004" pitchFamily="50" charset="-127"/>
              </a:rPr>
              <a:t>4.2 SW Detailed Design </a:t>
            </a:r>
            <a:r>
              <a:rPr lang="en-US" altLang="ko-KR" sz="1100" b="1" dirty="0">
                <a:latin typeface="Malgun Gothic" panose="020B0503020000020004" pitchFamily="50" charset="-127"/>
                <a:ea typeface="Malgun Gothic" panose="020B0503020000020004" pitchFamily="50" charset="-127"/>
              </a:rPr>
              <a:t>Versioning</a:t>
            </a:r>
          </a:p>
          <a:p>
            <a:pPr marL="271463" lvl="2" indent="0" eaLnBrk="1" hangingPunct="1">
              <a:buNone/>
            </a:pPr>
            <a:r>
              <a:rPr lang="en-US" altLang="ko-KR" sz="1100" dirty="0">
                <a:latin typeface="Malgun Gothic" panose="020B0503020000020004" pitchFamily="50" charset="-127"/>
                <a:ea typeface="Malgun Gothic" panose="020B0503020000020004" pitchFamily="50" charset="-127"/>
              </a:rPr>
              <a:t>The CM checks whether the conditions for granting the version, such as the change history of the work product and the review result, are satisfied. If there is no problem after confirmation, a version is </a:t>
            </a:r>
            <a:r>
              <a:rPr lang="en-US" altLang="ko-KR" sz="1100" dirty="0" smtClean="0">
                <a:latin typeface="Malgun Gothic" panose="020B0503020000020004" pitchFamily="50" charset="-127"/>
                <a:ea typeface="Malgun Gothic" panose="020B0503020000020004" pitchFamily="50" charset="-127"/>
              </a:rPr>
              <a:t>given </a:t>
            </a:r>
            <a:r>
              <a:rPr lang="en-US" altLang="ko-KR" sz="1100" dirty="0">
                <a:latin typeface="Malgun Gothic" panose="020B0503020000020004" pitchFamily="50" charset="-127"/>
                <a:ea typeface="Malgun Gothic" panose="020B0503020000020004" pitchFamily="50" charset="-127"/>
              </a:rPr>
              <a:t>according to the naming convention of the CM plan. After granting a version, access should be restricted so that unauthorized modifications cannot be made.</a:t>
            </a:r>
          </a:p>
          <a:p>
            <a:pPr marL="271463" lvl="2" indent="0" eaLnBrk="1" hangingPunct="1">
              <a:buFont typeface="Wingdings" panose="05000000000000000000" pitchFamily="2" charset="2"/>
              <a:buNone/>
            </a:pPr>
            <a:endParaRPr lang="en-US" altLang="ko-KR" sz="1100" dirty="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1695380887"/>
              </p:ext>
            </p:extLst>
          </p:nvPr>
        </p:nvGraphicFramePr>
        <p:xfrm>
          <a:off x="328613" y="908050"/>
          <a:ext cx="9172575" cy="1020988"/>
        </p:xfrm>
        <a:graphic>
          <a:graphicData uri="http://schemas.openxmlformats.org/drawingml/2006/table">
            <a:tbl>
              <a:tblPr/>
              <a:tblGrid>
                <a:gridCol w="3057525"/>
                <a:gridCol w="3057525"/>
                <a:gridCol w="3057525"/>
              </a:tblGrid>
              <a:tr h="259034">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761729">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defRPr/>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registers the reviewed SW Detailed Design, RTM (if applicable) in the project repository. CM assigns versions according to a version naming conventions</a:t>
                      </a: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1 Registering Work Product [SW Engineer]</a:t>
                      </a:r>
                    </a:p>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4.2 Adding the version number to the 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CM]</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Version)</a:t>
                      </a:r>
                    </a:p>
                  </a:txBody>
                  <a:tcPr marL="91439" marR="91439"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8</a:t>
            </a:fld>
            <a:endParaRPr lang="en-US" altLang="ko-KR" dirty="0"/>
          </a:p>
        </p:txBody>
      </p:sp>
    </p:spTree>
    <p:extLst>
      <p:ext uri="{BB962C8B-B14F-4D97-AF65-F5344CB8AC3E}">
        <p14:creationId xmlns:p14="http://schemas.microsoft.com/office/powerpoint/2010/main" val="8115694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제목 1"/>
          <p:cNvSpPr>
            <a:spLocks noGrp="1"/>
          </p:cNvSpPr>
          <p:nvPr>
            <p:ph type="title"/>
          </p:nvPr>
        </p:nvSpPr>
        <p:spPr bwMode="auto">
          <a:xfrm>
            <a:off x="323850" y="71438"/>
            <a:ext cx="8915400" cy="439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ko-KR" dirty="0" smtClean="0">
                <a:solidFill>
                  <a:schemeClr val="tx1"/>
                </a:solidFill>
                <a:latin typeface="Malgun Gothic" panose="020B0503020000020004" pitchFamily="50" charset="-127"/>
                <a:ea typeface="Malgun Gothic" panose="020B0503020000020004" pitchFamily="50" charset="-127"/>
              </a:rPr>
              <a:t>5. </a:t>
            </a:r>
            <a:r>
              <a:rPr lang="en-US" altLang="ko-KR" dirty="0" smtClean="0">
                <a:solidFill>
                  <a:srgbClr val="000000"/>
                </a:solidFill>
                <a:latin typeface="Malgun Gothic" panose="020B0503020000020004" pitchFamily="50" charset="-127"/>
                <a:ea typeface="Malgun Gothic" panose="020B0503020000020004" pitchFamily="50" charset="-127"/>
              </a:rPr>
              <a:t>SW </a:t>
            </a:r>
            <a:r>
              <a:rPr lang="en-US" altLang="ko-KR" dirty="0">
                <a:solidFill>
                  <a:srgbClr val="000000"/>
                </a:solidFill>
                <a:latin typeface="Malgun Gothic" panose="020B0503020000020004" pitchFamily="50" charset="-127"/>
                <a:ea typeface="Malgun Gothic" panose="020B0503020000020004" pitchFamily="50" charset="-127"/>
              </a:rPr>
              <a:t>Implementation</a:t>
            </a:r>
            <a:br>
              <a:rPr lang="en-US" altLang="ko-KR" dirty="0">
                <a:solidFill>
                  <a:srgbClr val="000000"/>
                </a:solidFill>
                <a:latin typeface="Malgun Gothic" panose="020B0503020000020004" pitchFamily="50" charset="-127"/>
                <a:ea typeface="Malgun Gothic" panose="020B0503020000020004" pitchFamily="50" charset="-127"/>
              </a:rPr>
            </a:br>
            <a:endParaRPr lang="ko-KR" altLang="en-US" smtClean="0">
              <a:solidFill>
                <a:schemeClr val="tx1"/>
              </a:solidFill>
              <a:latin typeface="Malgun Gothic" panose="020B0503020000020004" pitchFamily="50" charset="-127"/>
              <a:ea typeface="Malgun Gothic" panose="020B0503020000020004" pitchFamily="50" charset="-127"/>
            </a:endParaRPr>
          </a:p>
        </p:txBody>
      </p:sp>
      <p:sp>
        <p:nvSpPr>
          <p:cNvPr id="10243" name="텍스트 개체 틀 2"/>
          <p:cNvSpPr>
            <a:spLocks noGrp="1"/>
          </p:cNvSpPr>
          <p:nvPr>
            <p:ph type="body" sz="quarter" idx="10"/>
          </p:nvPr>
        </p:nvSpPr>
        <p:spPr bwMode="auto">
          <a:xfrm>
            <a:off x="323850" y="2060575"/>
            <a:ext cx="9093200" cy="4032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US" altLang="ko-KR" sz="1100" b="1" dirty="0" smtClean="0">
                <a:latin typeface="Malgun Gothic" panose="020B0503020000020004" pitchFamily="50" charset="-127"/>
                <a:ea typeface="Malgun Gothic" panose="020B0503020000020004" pitchFamily="50" charset="-127"/>
              </a:rPr>
              <a:t>5.1 SW Implementation</a:t>
            </a: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SW Engineer implements source code based on SW detailed design and Coding guidelines according to the project schedule and SW release plan. </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a:p>
            <a:pPr marL="271463" lvl="2" indent="0" eaLnBrk="1" hangingPunct="1">
              <a:buFont typeface="Wingdings" panose="05000000000000000000" pitchFamily="2" charset="2"/>
              <a:buNone/>
            </a:pPr>
            <a:r>
              <a:rPr lang="en-US" altLang="ko-KR" sz="1100" dirty="0" smtClean="0">
                <a:latin typeface="Malgun Gothic" panose="020B0503020000020004" pitchFamily="50" charset="-127"/>
                <a:ea typeface="Malgun Gothic" panose="020B0503020000020004" pitchFamily="50" charset="-127"/>
              </a:rPr>
              <a:t>For coding details, refer to the ‘SW Coding Rules Guide’.</a:t>
            </a:r>
          </a:p>
          <a:p>
            <a:pPr marL="271463" lvl="2" indent="0" eaLnBrk="1" hangingPunct="1">
              <a:buFont typeface="Wingdings" panose="05000000000000000000" pitchFamily="2" charset="2"/>
              <a:buNone/>
            </a:pPr>
            <a:endParaRPr lang="en-US" altLang="ko-KR" sz="1100" dirty="0" smtClean="0">
              <a:latin typeface="Malgun Gothic" panose="020B0503020000020004" pitchFamily="50" charset="-127"/>
              <a:ea typeface="Malgun Gothic" panose="020B0503020000020004" pitchFamily="50" charset="-127"/>
            </a:endParaRPr>
          </a:p>
        </p:txBody>
      </p:sp>
      <p:graphicFrame>
        <p:nvGraphicFramePr>
          <p:cNvPr id="2" name="표 1"/>
          <p:cNvGraphicFramePr>
            <a:graphicFrameLocks noGrp="1"/>
          </p:cNvGraphicFramePr>
          <p:nvPr>
            <p:extLst>
              <p:ext uri="{D42A27DB-BD31-4B8C-83A1-F6EECF244321}">
                <p14:modId xmlns:p14="http://schemas.microsoft.com/office/powerpoint/2010/main" val="2319907387"/>
              </p:ext>
            </p:extLst>
          </p:nvPr>
        </p:nvGraphicFramePr>
        <p:xfrm>
          <a:off x="328613" y="908050"/>
          <a:ext cx="9172575" cy="871538"/>
        </p:xfrm>
        <a:graphic>
          <a:graphicData uri="http://schemas.openxmlformats.org/drawingml/2006/table">
            <a:tbl>
              <a:tblPr/>
              <a:tblGrid>
                <a:gridCol w="3057525"/>
                <a:gridCol w="3057525"/>
                <a:gridCol w="3057525"/>
              </a:tblGrid>
              <a:tr h="259258">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Task Description</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Procedure</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ctr" defTabSz="914400" rtl="0" eaLnBrk="1" fontAlgn="base" latinLnBrk="1" hangingPunct="1">
                        <a:lnSpc>
                          <a:spcPct val="100000"/>
                        </a:lnSpc>
                        <a:spcBef>
                          <a:spcPct val="0"/>
                        </a:spcBef>
                        <a:spcAft>
                          <a:spcPct val="0"/>
                        </a:spcAft>
                        <a:buClrTx/>
                        <a:buSzTx/>
                        <a:buFontTx/>
                        <a:buNone/>
                        <a:tabLst/>
                      </a:pPr>
                      <a:r>
                        <a:rPr kumimoji="0" lang="en-US" altLang="ko-KR" sz="1100" b="1"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Outcomes</a:t>
                      </a:r>
                      <a:endParaRPr kumimoji="0" lang="ko-KR" altLang="en-US" sz="1100" b="1"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612280">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 implements SW source code based o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Detailed Design.</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5.1 SW Implementation</a:t>
                      </a:r>
                      <a:r>
                        <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rPr>
                        <a:t> </a:t>
                      </a: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Engineer]</a:t>
                      </a:r>
                      <a:endParaRPr kumimoji="0" lang="ko-KR" altLang="en-US" sz="1100" b="0" i="0" u="none" strike="noStrike" cap="none" normalizeH="0" baseline="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latinLnBrk="1">
                        <a:spcBef>
                          <a:spcPct val="20000"/>
                        </a:spcBef>
                        <a:defRPr kumimoji="1" sz="2800">
                          <a:solidFill>
                            <a:schemeClr val="tx1"/>
                          </a:solidFill>
                          <a:latin typeface="굴림" panose="020B0600000101010101" pitchFamily="50" charset="-127"/>
                          <a:ea typeface="굴림" panose="020B0600000101010101" pitchFamily="50" charset="-127"/>
                        </a:defRPr>
                      </a:lvl1pPr>
                      <a:lvl2pPr marL="742950" indent="-285750" latinLnBrk="1">
                        <a:spcBef>
                          <a:spcPct val="20000"/>
                        </a:spcBef>
                        <a:defRPr kumimoji="1" sz="2400">
                          <a:solidFill>
                            <a:schemeClr val="tx1"/>
                          </a:solidFill>
                          <a:latin typeface="굴림" panose="020B0600000101010101" pitchFamily="50" charset="-127"/>
                          <a:ea typeface="굴림" panose="020B0600000101010101" pitchFamily="50" charset="-127"/>
                        </a:defRPr>
                      </a:lvl2pPr>
                      <a:lvl3pPr marL="1143000" indent="-228600" latinLnBrk="1">
                        <a:spcBef>
                          <a:spcPct val="20000"/>
                        </a:spcBef>
                        <a:defRPr kumimoji="1" sz="2000">
                          <a:solidFill>
                            <a:schemeClr val="tx1"/>
                          </a:solidFill>
                          <a:latin typeface="굴림" panose="020B0600000101010101" pitchFamily="50" charset="-127"/>
                          <a:ea typeface="굴림" panose="020B0600000101010101" pitchFamily="50" charset="-127"/>
                        </a:defRPr>
                      </a:lvl3pPr>
                      <a:lvl4pPr marL="1600200" indent="-228600" latinLnBrk="1">
                        <a:spcBef>
                          <a:spcPct val="20000"/>
                        </a:spcBef>
                        <a:defRPr kumimoji="1">
                          <a:solidFill>
                            <a:schemeClr val="tx1"/>
                          </a:solidFill>
                          <a:latin typeface="굴림" panose="020B0600000101010101" pitchFamily="50" charset="-127"/>
                          <a:ea typeface="굴림" panose="020B0600000101010101" pitchFamily="50" charset="-127"/>
                        </a:defRPr>
                      </a:lvl4pPr>
                      <a:lvl5pPr marL="2057400" indent="-228600" latinLnBrk="1">
                        <a:spcBef>
                          <a:spcPct val="20000"/>
                        </a:spcBef>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20000"/>
                        </a:spcBef>
                        <a:spcAft>
                          <a:spcPct val="0"/>
                        </a:spcAft>
                        <a:defRPr kumimoji="1">
                          <a:solidFill>
                            <a:schemeClr val="tx1"/>
                          </a:solidFill>
                          <a:latin typeface="굴림" panose="020B0600000101010101" pitchFamily="50" charset="-127"/>
                          <a:ea typeface="굴림" panose="020B0600000101010101" pitchFamily="50" charset="-127"/>
                        </a:defRPr>
                      </a:lvl9pPr>
                    </a:lstStyle>
                    <a:p>
                      <a:pPr marL="0" marR="0" lvl="0" indent="0" algn="l" defTabSz="914400" rtl="0" eaLnBrk="1" fontAlgn="base" latinLnBrk="1" hangingPunct="1">
                        <a:lnSpc>
                          <a:spcPct val="100000"/>
                        </a:lnSpc>
                        <a:spcBef>
                          <a:spcPct val="0"/>
                        </a:spcBef>
                        <a:spcAft>
                          <a:spcPct val="0"/>
                        </a:spcAft>
                        <a:buClrTx/>
                        <a:buSzTx/>
                        <a:buFontTx/>
                        <a:buNone/>
                        <a:tabLst/>
                      </a:pPr>
                      <a:r>
                        <a:rPr kumimoji="0" lang="en-US" altLang="ko-KR"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rPr>
                        <a:t>SW Source Code </a:t>
                      </a:r>
                      <a:endParaRPr kumimoji="0" lang="ko-KR" altLang="en-US" sz="1100" b="0" i="0" u="none" strike="noStrike" cap="none" normalizeH="0" baseline="0" dirty="0" smtClean="0">
                        <a:ln>
                          <a:noFill/>
                        </a:ln>
                        <a:solidFill>
                          <a:schemeClr val="tx1"/>
                        </a:solidFill>
                        <a:effectLst/>
                        <a:latin typeface="Malgun Gothic" panose="020B0503020000020004" pitchFamily="50" charset="-127"/>
                        <a:ea typeface="Malgun Gothic" panose="020B0503020000020004" pitchFamily="50" charset="-127"/>
                      </a:endParaRPr>
                    </a:p>
                  </a:txBody>
                  <a:tcPr marL="91439" marR="91439" marT="45771" marB="4577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슬라이드 번호 개체 틀 2"/>
          <p:cNvSpPr>
            <a:spLocks noGrp="1"/>
          </p:cNvSpPr>
          <p:nvPr>
            <p:ph type="sldNum" sz="quarter" idx="11"/>
          </p:nvPr>
        </p:nvSpPr>
        <p:spPr/>
        <p:txBody>
          <a:bodyPr/>
          <a:lstStyle/>
          <a:p>
            <a:pPr algn="ctr">
              <a:defRPr/>
            </a:pPr>
            <a:fld id="{3B401806-4231-4DE8-A758-C6ACA20AC1A7}" type="slidenum">
              <a:rPr lang="en-US" altLang="ko-KR" smtClean="0"/>
              <a:pPr algn="ctr">
                <a:defRPr/>
              </a:pPr>
              <a:t>9</a:t>
            </a:fld>
            <a:endParaRPr lang="en-US" altLang="ko-KR"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2DBPMRbQEK4PwqppxHt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e9y31qx0OExXY5K1tKhA"/>
</p:tagLst>
</file>

<file path=ppt/theme/theme1.xml><?xml version="1.0" encoding="utf-8"?>
<a:theme xmlns:a="http://schemas.openxmlformats.org/drawingml/2006/main" name="1_기본 디자인">
  <a:themeElements>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기본 디자인">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tx1">
              <a:lumMod val="50000"/>
              <a:lumOff val="50000"/>
            </a:schemeClr>
          </a:solidFill>
          <a:prstDash val="solid"/>
          <a:round/>
          <a:headEnd type="none" w="med" len="med"/>
          <a:tailEnd type="none" w="med" len="med"/>
        </a:ln>
        <a:effectLst/>
      </a:spPr>
      <a:bodyPr anchor="ctr"/>
      <a:lstStyle>
        <a:defPPr algn="ctr" latinLnBrk="0">
          <a:defRPr kumimoji="0" sz="1200" b="1" dirty="0">
            <a:latin typeface="맑은 고딕" pitchFamily="50" charset="-127"/>
            <a:ea typeface="맑은 고딕" pitchFamily="50" charset="-127"/>
          </a:defRPr>
        </a:defPPr>
      </a:lstStyle>
    </a:spDef>
    <a:lnDef>
      <a:spPr bwMode="auto">
        <a:noFill/>
        <a:ln w="9525" algn="ctr">
          <a:solidFill>
            <a:schemeClr val="tx1"/>
          </a:solidFill>
          <a:round/>
          <a:headEnd/>
          <a:tailEnd type="triangle" w="med" len="med"/>
        </a:ln>
        <a:extLst>
          <a:ext uri="{909E8E84-426E-40DD-AFC4-6F175D3DCCD1}">
            <a14:hiddenFill xmlns:a14="http://schemas.microsoft.com/office/drawing/2010/main">
              <a:noFill/>
            </a14:hiddenFill>
          </a:ext>
        </a:extLst>
      </a:spPr>
      <a:bodyPr/>
      <a:lstStyle/>
    </a:lnDef>
  </a:objectDefaults>
  <a:extraClrSchemeLst>
    <a:extraClrScheme>
      <a:clrScheme name="1_기본 디자인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기본 디자인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기본 디자인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기본 디자인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기본 디자인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기본 디자인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기본 디자인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021</TotalTime>
  <Words>1830</Words>
  <Application>Microsoft Office PowerPoint</Application>
  <PresentationFormat>A4 용지(210x297mm)</PresentationFormat>
  <Paragraphs>227</Paragraphs>
  <Slides>13</Slides>
  <Notes>2</Notes>
  <HiddenSlides>0</HiddenSlides>
  <MMClips>0</MMClips>
  <ScaleCrop>false</ScaleCrop>
  <HeadingPairs>
    <vt:vector size="6" baseType="variant">
      <vt:variant>
        <vt:lpstr>사용한 글꼴</vt:lpstr>
      </vt:variant>
      <vt:variant>
        <vt:i4>8</vt:i4>
      </vt:variant>
      <vt:variant>
        <vt:lpstr>테마</vt:lpstr>
      </vt:variant>
      <vt:variant>
        <vt:i4>1</vt:i4>
      </vt:variant>
      <vt:variant>
        <vt:lpstr>슬라이드 제목</vt:lpstr>
      </vt:variant>
      <vt:variant>
        <vt:i4>13</vt:i4>
      </vt:variant>
    </vt:vector>
  </HeadingPairs>
  <TitlesOfParts>
    <vt:vector size="22" baseType="lpstr">
      <vt:lpstr>HY헤드라인M</vt:lpstr>
      <vt:lpstr>굴림</vt:lpstr>
      <vt:lpstr>돋움</vt:lpstr>
      <vt:lpstr>맑은 고딕</vt:lpstr>
      <vt:lpstr>맑은 고딕</vt:lpstr>
      <vt:lpstr>Arial</vt:lpstr>
      <vt:lpstr>Times New Roman</vt:lpstr>
      <vt:lpstr>Wingdings</vt:lpstr>
      <vt:lpstr>1_기본 디자인</vt:lpstr>
      <vt:lpstr>PowerPoint 프레젠테이션</vt:lpstr>
      <vt:lpstr>PowerPoint 프레젠테이션</vt:lpstr>
      <vt:lpstr>PowerPoint 프레젠테이션</vt:lpstr>
      <vt:lpstr> SW Detailed Design</vt:lpstr>
      <vt:lpstr>2. Requirements Traceability Management (SDD-SAD)</vt:lpstr>
      <vt:lpstr>3. SW Detailed Design Review </vt:lpstr>
      <vt:lpstr>3. SW Detailed Design Review (cont.)</vt:lpstr>
      <vt:lpstr>4. SW Detailed Design Version Control</vt:lpstr>
      <vt:lpstr>5. SW Implementation </vt:lpstr>
      <vt:lpstr>6. Requirements Traceability Management (SDD-Source code) </vt:lpstr>
      <vt:lpstr>7. SW Code Quality Review </vt:lpstr>
      <vt:lpstr>7. SW Code Quality Review (cont.)</vt:lpstr>
      <vt:lpstr>PowerPoint 프레젠테이션</vt:lpstr>
    </vt:vector>
  </TitlesOfParts>
  <Manager>VC스마트SW프로세스팀</Manager>
  <Company>LG전자</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 상세설계 및 구현 가이드</dc:title>
  <dc:subject>스마트사업부 SW개발 표준 프로세스</dc:subject>
  <dc:creator>VC스마트SW프로세스팀</dc:creator>
  <cp:lastModifiedBy>송민영/책임연구원/SW Process Unit(minyoung.song@lge.com)</cp:lastModifiedBy>
  <cp:revision>1201</cp:revision>
  <dcterms:created xsi:type="dcterms:W3CDTF">2008-11-26T05:44:28Z</dcterms:created>
  <dcterms:modified xsi:type="dcterms:W3CDTF">2022-09-04T11:39:56Z</dcterms:modified>
</cp:coreProperties>
</file>